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6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8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9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11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Override12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Override13.xml" ContentType="application/vnd.openxmlformats-officedocument.themeOverr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Override14.xml" ContentType="application/vnd.openxmlformats-officedocument.themeOverr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Override15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16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Override17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Override18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Override19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Override20.xml" ContentType="application/vnd.openxmlformats-officedocument.themeOverr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Override21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Override22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Override23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Override24.xml" ContentType="application/vnd.openxmlformats-officedocument.themeOverr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heme/themeOverride25.xml" ContentType="application/vnd.openxmlformats-officedocument.themeOverr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Override26.xml" ContentType="application/vnd.openxmlformats-officedocument.themeOverr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Override27.xml" ContentType="application/vnd.openxmlformats-officedocument.themeOverride+xml"/>
  <Override PartName="/ppt/tags/tag101.xml" ContentType="application/vnd.openxmlformats-officedocument.presentationml.tags+xml"/>
  <Override PartName="/ppt/theme/themeOverride28.xml" ContentType="application/vnd.openxmlformats-officedocument.themeOverride+xml"/>
  <Override PartName="/ppt/tags/tag102.xml" ContentType="application/vnd.openxmlformats-officedocument.presentationml.tags+xml"/>
  <Override PartName="/ppt/theme/themeOverride29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heme/themeOverride30.xml" ContentType="application/vnd.openxmlformats-officedocument.themeOverr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Override31.xml" ContentType="application/vnd.openxmlformats-officedocument.themeOverride+xml"/>
  <Override PartName="/ppt/tags/tag11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2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Override32.xml" ContentType="application/vnd.openxmlformats-officedocument.themeOverride+xml"/>
  <Override PartName="/ppt/tags/tag120.xml" ContentType="application/vnd.openxmlformats-officedocument.presentationml.tags+xml"/>
  <Override PartName="/ppt/theme/themeOverride33.xml" ContentType="application/vnd.openxmlformats-officedocument.themeOverr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heme/themeOverride34.xml" ContentType="application/vnd.openxmlformats-officedocument.themeOverr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Override35.xml" ContentType="application/vnd.openxmlformats-officedocument.themeOverr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Override36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Override37.xml" ContentType="application/vnd.openxmlformats-officedocument.themeOverr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Override38.xml" ContentType="application/vnd.openxmlformats-officedocument.themeOverr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3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Override40.xml" ContentType="application/vnd.openxmlformats-officedocument.themeOverr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Override41.xml" ContentType="application/vnd.openxmlformats-officedocument.themeOverr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heme/themeOverride42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43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heme/themeOverride44.xml" ContentType="application/vnd.openxmlformats-officedocument.themeOverr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heme/themeOverride46.xml" ContentType="application/vnd.openxmlformats-officedocument.themeOverr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heme/themeOverride47.xml" ContentType="application/vnd.openxmlformats-officedocument.themeOverr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8.xml" ContentType="application/vnd.openxmlformats-officedocument.themeOverr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heme/themeOverride49.xml" ContentType="application/vnd.openxmlformats-officedocument.themeOverr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heme/themeOverride50.xml" ContentType="application/vnd.openxmlformats-officedocument.themeOverr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heme/themeOverride51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heme/themeOverride52.xml" ContentType="application/vnd.openxmlformats-officedocument.themeOverr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heme/themeOverride53.xml" ContentType="application/vnd.openxmlformats-officedocument.themeOverr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heme/themeOverride54.xml" ContentType="application/vnd.openxmlformats-officedocument.themeOverr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heme/themeOverride55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heme/themeOverride56.xml" ContentType="application/vnd.openxmlformats-officedocument.themeOverr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heme/themeOverride57.xml" ContentType="application/vnd.openxmlformats-officedocument.themeOverr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Override58.xml" ContentType="application/vnd.openxmlformats-officedocument.themeOverride+xml"/>
  <Override PartName="/ppt/tags/tag219.xml" ContentType="application/vnd.openxmlformats-officedocument.presentationml.tags+xml"/>
  <Override PartName="/ppt/theme/themeOverride59.xml" ContentType="application/vnd.openxmlformats-officedocument.themeOverride+xml"/>
  <Override PartName="/ppt/tags/tag220.xml" ContentType="application/vnd.openxmlformats-officedocument.presentationml.tags+xml"/>
  <Override PartName="/ppt/theme/themeOverride60.xml" ContentType="application/vnd.openxmlformats-officedocument.themeOverr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heme/themeOverride61.xml" ContentType="application/vnd.openxmlformats-officedocument.themeOverr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heme/themeOverride62.xml" ContentType="application/vnd.openxmlformats-officedocument.themeOverride+xml"/>
  <Override PartName="/ppt/tags/tag22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30.xml" ContentType="application/vnd.openxmlformats-officedocument.presentationml.tags+xml"/>
  <Override PartName="/ppt/notesSlides/notesSlide1.xml" ContentType="application/vnd.openxmlformats-officedocument.presentationml.notesSlide+xml"/>
  <Override PartName="/ppt/tags/tag231.xml" ContentType="application/vnd.openxmlformats-officedocument.presentationml.tags+xml"/>
  <Override PartName="/ppt/notesSlides/notesSlide2.xml" ContentType="application/vnd.openxmlformats-officedocument.presentationml.notesSlide+xml"/>
  <Override PartName="/ppt/tags/tag232.xml" ContentType="application/vnd.openxmlformats-officedocument.presentationml.tags+xml"/>
  <Override PartName="/ppt/notesSlides/notesSlide3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342" r:id="rId1"/>
    <p:sldMasterId id="2147485416" r:id="rId2"/>
  </p:sldMasterIdLst>
  <p:notesMasterIdLst>
    <p:notesMasterId r:id="rId9"/>
  </p:notesMasterIdLst>
  <p:handoutMasterIdLst>
    <p:handoutMasterId r:id="rId10"/>
  </p:handoutMasterIdLst>
  <p:sldIdLst>
    <p:sldId id="295" r:id="rId3"/>
    <p:sldId id="279" r:id="rId4"/>
    <p:sldId id="274" r:id="rId5"/>
    <p:sldId id="315" r:id="rId6"/>
    <p:sldId id="309" r:id="rId7"/>
    <p:sldId id="310" r:id="rId8"/>
  </p:sldIdLst>
  <p:sldSz cx="12192000" cy="6858000"/>
  <p:notesSz cx="9928225" cy="6797675"/>
  <p:custShowLst>
    <p:custShow name="Format Guide Workshop" id="0">
      <p:sldLst/>
    </p:custShow>
  </p:custShowLst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000000"/>
    <a:srgbClr val="212121"/>
    <a:srgbClr val="FFFF00"/>
    <a:srgbClr val="F2E900"/>
    <a:srgbClr val="FAF7B4"/>
    <a:srgbClr val="F2EB3B"/>
    <a:srgbClr val="FFE200"/>
    <a:srgbClr val="E2E2E2"/>
    <a:srgbClr val="CCD3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14" autoAdjust="0"/>
    <p:restoredTop sz="96187" autoAdjust="0"/>
  </p:normalViewPr>
  <p:slideViewPr>
    <p:cSldViewPr snapToGrid="0">
      <p:cViewPr varScale="1">
        <p:scale>
          <a:sx n="115" d="100"/>
          <a:sy n="115" d="100"/>
        </p:scale>
        <p:origin x="750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5" d="100"/>
          <a:sy n="105" d="100"/>
        </p:scale>
        <p:origin x="120" y="18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4302231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700" y="2"/>
            <a:ext cx="4302231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7/23/2018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456613"/>
            <a:ext cx="4302231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700" y="6456613"/>
            <a:ext cx="4302231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88332"/>
            <a:ext cx="9925928" cy="1509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747" y="2"/>
            <a:ext cx="4184486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700" y="2"/>
            <a:ext cx="4186780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fld id="{3AD9BDA7-98EF-4344-B91C-30A07E8A84B0}" type="datetimeFigureOut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54038" y="204788"/>
            <a:ext cx="8820150" cy="49609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3350" y="5370467"/>
            <a:ext cx="9661527" cy="659636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747" y="6456613"/>
            <a:ext cx="4184486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701" y="6456613"/>
            <a:ext cx="4171177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42" userDrawn="1">
          <p15:clr>
            <a:srgbClr val="F26B43"/>
          </p15:clr>
        </p15:guide>
        <p15:guide id="2" pos="312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0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064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bg-BG" dirty="0"/>
              <a:t>Notes view: </a:t>
            </a:r>
            <a:fld id="{128CEAFE-FA94-43E5-B0FF-D47E1CCDD1B4}" type="slidenum">
              <a:rPr lang="bg-BG" smtClean="0"/>
              <a:pPr/>
              <a:t>1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261209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bg-BG" dirty="0"/>
              <a:t>Notes view: </a:t>
            </a:r>
            <a:fld id="{128CEAFE-FA94-43E5-B0FF-D47E1CCDD1B4}" type="slidenum">
              <a:rPr lang="bg-BG" smtClean="0"/>
              <a:pPr/>
              <a:t>2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447624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02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13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8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2.vml"/><Relationship Id="rId1" Type="http://schemas.openxmlformats.org/officeDocument/2006/relationships/themeOverride" Target="../theme/themeOverride51.xml"/><Relationship Id="rId6" Type="http://schemas.openxmlformats.org/officeDocument/2006/relationships/oleObject" Target="../embeddings/oleObject10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13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9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4.vml"/><Relationship Id="rId1" Type="http://schemas.openxmlformats.org/officeDocument/2006/relationships/themeOverride" Target="../theme/themeOverride52.xml"/><Relationship Id="rId6" Type="http://schemas.openxmlformats.org/officeDocument/2006/relationships/oleObject" Target="../embeddings/oleObject10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13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9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6.vml"/><Relationship Id="rId1" Type="http://schemas.openxmlformats.org/officeDocument/2006/relationships/themeOverride" Target="../theme/themeOverride53.xml"/><Relationship Id="rId6" Type="http://schemas.openxmlformats.org/officeDocument/2006/relationships/oleObject" Target="../embeddings/oleObject10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13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8.vml"/><Relationship Id="rId1" Type="http://schemas.openxmlformats.org/officeDocument/2006/relationships/themeOverride" Target="../theme/themeOverride54.xml"/><Relationship Id="rId6" Type="http://schemas.openxmlformats.org/officeDocument/2006/relationships/oleObject" Target="../embeddings/oleObject10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0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0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2.vml"/><Relationship Id="rId1" Type="http://schemas.openxmlformats.org/officeDocument/2006/relationships/themeOverride" Target="../theme/themeOverride55.xml"/><Relationship Id="rId6" Type="http://schemas.openxmlformats.org/officeDocument/2006/relationships/oleObject" Target="../embeddings/oleObject1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3.vml"/><Relationship Id="rId1" Type="http://schemas.openxmlformats.org/officeDocument/2006/relationships/themeOverride" Target="../theme/themeOverride56.xml"/><Relationship Id="rId6" Type="http://schemas.openxmlformats.org/officeDocument/2006/relationships/oleObject" Target="../embeddings/oleObject1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9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2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6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8.vml"/><Relationship Id="rId1" Type="http://schemas.openxmlformats.org/officeDocument/2006/relationships/themeOverride" Target="../theme/themeOverride57.xml"/><Relationship Id="rId6" Type="http://schemas.openxmlformats.org/officeDocument/2006/relationships/oleObject" Target="../embeddings/oleObject1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vmlDrawing" Target="../drawings/vmlDrawing119.vml"/><Relationship Id="rId1" Type="http://schemas.openxmlformats.org/officeDocument/2006/relationships/themeOverride" Target="../theme/themeOverride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vmlDrawing" Target="../drawings/vmlDrawing120.vml"/><Relationship Id="rId1" Type="http://schemas.openxmlformats.org/officeDocument/2006/relationships/themeOverride" Target="../theme/themeOverride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21.vml"/><Relationship Id="rId1" Type="http://schemas.openxmlformats.org/officeDocument/2006/relationships/themeOverride" Target="../theme/themeOverride60.xml"/><Relationship Id="rId6" Type="http://schemas.openxmlformats.org/officeDocument/2006/relationships/oleObject" Target="../embeddings/oleObject1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25.vml"/><Relationship Id="rId1" Type="http://schemas.openxmlformats.org/officeDocument/2006/relationships/themeOverride" Target="../theme/themeOverride61.xml"/><Relationship Id="rId6" Type="http://schemas.openxmlformats.org/officeDocument/2006/relationships/oleObject" Target="../embeddings/oleObject12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8.png"/><Relationship Id="rId2" Type="http://schemas.openxmlformats.org/officeDocument/2006/relationships/vmlDrawing" Target="../drawings/vmlDrawing126.vml"/><Relationship Id="rId1" Type="http://schemas.openxmlformats.org/officeDocument/2006/relationships/themeOverride" Target="../theme/themeOverride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5.xml"/><Relationship Id="rId7" Type="http://schemas.openxmlformats.org/officeDocument/2006/relationships/image" Target="../media/image10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3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0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1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2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3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4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8.xml"/><Relationship Id="rId7" Type="http://schemas.openxmlformats.org/officeDocument/2006/relationships/image" Target="../media/image10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9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7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9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9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9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6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7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vmlDrawing" Target="../drawings/vmlDrawing54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5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8.png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2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67.vml"/><Relationship Id="rId1" Type="http://schemas.openxmlformats.org/officeDocument/2006/relationships/themeOverride" Target="../theme/themeOverride33.xml"/><Relationship Id="rId6" Type="http://schemas.openxmlformats.org/officeDocument/2006/relationships/oleObject" Target="../embeddings/oleObject6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2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68.vml"/><Relationship Id="rId1" Type="http://schemas.openxmlformats.org/officeDocument/2006/relationships/themeOverride" Target="../theme/themeOverride34.x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4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69.vml"/><Relationship Id="rId1" Type="http://schemas.openxmlformats.org/officeDocument/2006/relationships/themeOverride" Target="../theme/themeOverride35.x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6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0.vml"/><Relationship Id="rId1" Type="http://schemas.openxmlformats.org/officeDocument/2006/relationships/themeOverride" Target="../theme/themeOverride36.x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8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1.vml"/><Relationship Id="rId1" Type="http://schemas.openxmlformats.org/officeDocument/2006/relationships/themeOverride" Target="../theme/themeOverride37.x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0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2.vml"/><Relationship Id="rId1" Type="http://schemas.openxmlformats.org/officeDocument/2006/relationships/themeOverride" Target="../theme/themeOverride38.x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13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35.xml"/><Relationship Id="rId7" Type="http://schemas.openxmlformats.org/officeDocument/2006/relationships/image" Target="../media/image10.emf"/><Relationship Id="rId2" Type="http://schemas.openxmlformats.org/officeDocument/2006/relationships/vmlDrawing" Target="../drawings/vmlDrawing74.vml"/><Relationship Id="rId1" Type="http://schemas.openxmlformats.org/officeDocument/2006/relationships/themeOverride" Target="../theme/themeOverride39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13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6.vml"/><Relationship Id="rId1" Type="http://schemas.openxmlformats.org/officeDocument/2006/relationships/themeOverride" Target="../theme/themeOverride40.x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13.png"/><Relationship Id="rId2" Type="http://schemas.openxmlformats.org/officeDocument/2006/relationships/tags" Target="../tags/tag14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8.vml"/><Relationship Id="rId1" Type="http://schemas.openxmlformats.org/officeDocument/2006/relationships/themeOverride" Target="../theme/themeOverride41.xml"/><Relationship Id="rId6" Type="http://schemas.openxmlformats.org/officeDocument/2006/relationships/oleObject" Target="../embeddings/oleObject7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13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0.vml"/><Relationship Id="rId1" Type="http://schemas.openxmlformats.org/officeDocument/2006/relationships/themeOverride" Target="../theme/themeOverride42.xml"/><Relationship Id="rId6" Type="http://schemas.openxmlformats.org/officeDocument/2006/relationships/oleObject" Target="../embeddings/oleObject8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5.vml"/><Relationship Id="rId1" Type="http://schemas.openxmlformats.org/officeDocument/2006/relationships/themeOverride" Target="../theme/themeOverride43.xml"/><Relationship Id="rId6" Type="http://schemas.openxmlformats.org/officeDocument/2006/relationships/oleObject" Target="../embeddings/oleObject8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2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8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2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4.vml"/><Relationship Id="rId1" Type="http://schemas.openxmlformats.org/officeDocument/2006/relationships/themeOverride" Target="../theme/themeOverride44.xml"/><Relationship Id="rId6" Type="http://schemas.openxmlformats.org/officeDocument/2006/relationships/oleObject" Target="../embeddings/oleObject9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2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5.vml"/><Relationship Id="rId1" Type="http://schemas.openxmlformats.org/officeDocument/2006/relationships/themeOverride" Target="../theme/themeOverride45.xml"/><Relationship Id="rId6" Type="http://schemas.openxmlformats.org/officeDocument/2006/relationships/oleObject" Target="../embeddings/oleObject9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4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6.vml"/><Relationship Id="rId1" Type="http://schemas.openxmlformats.org/officeDocument/2006/relationships/themeOverride" Target="../theme/themeOverride46.xml"/><Relationship Id="rId6" Type="http://schemas.openxmlformats.org/officeDocument/2006/relationships/oleObject" Target="../embeddings/oleObject9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6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7.vml"/><Relationship Id="rId1" Type="http://schemas.openxmlformats.org/officeDocument/2006/relationships/themeOverride" Target="../theme/themeOverride47.xml"/><Relationship Id="rId6" Type="http://schemas.openxmlformats.org/officeDocument/2006/relationships/oleObject" Target="../embeddings/oleObject9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8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8.vml"/><Relationship Id="rId1" Type="http://schemas.openxmlformats.org/officeDocument/2006/relationships/themeOverride" Target="../theme/themeOverride48.xml"/><Relationship Id="rId6" Type="http://schemas.openxmlformats.org/officeDocument/2006/relationships/oleObject" Target="../embeddings/oleObject9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0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9.vml"/><Relationship Id="rId1" Type="http://schemas.openxmlformats.org/officeDocument/2006/relationships/themeOverride" Target="../theme/themeOverride49.xml"/><Relationship Id="rId6" Type="http://schemas.openxmlformats.org/officeDocument/2006/relationships/oleObject" Target="../embeddings/oleObject9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2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83.xml"/><Relationship Id="rId7" Type="http://schemas.openxmlformats.org/officeDocument/2006/relationships/image" Target="../media/image10.emf"/><Relationship Id="rId2" Type="http://schemas.openxmlformats.org/officeDocument/2006/relationships/vmlDrawing" Target="../drawings/vmlDrawing100.vml"/><Relationship Id="rId1" Type="http://schemas.openxmlformats.org/officeDocument/2006/relationships/themeOverride" Target="../theme/themeOverride50.xml"/><Relationship Id="rId6" Type="http://schemas.openxmlformats.org/officeDocument/2006/relationships/oleObject" Target="../embeddings/oleObject10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Shape 57"/>
          <p:cNvPicPr preferRelativeResize="0"/>
          <p:nvPr userDrawn="1"/>
        </p:nvPicPr>
        <p:blipFill>
          <a:blip r:embed="rId8">
            <a:alphaModFix/>
            <a:grayscl/>
          </a:blip>
          <a:stretch>
            <a:fillRect/>
          </a:stretch>
        </p:blipFill>
        <p:spPr>
          <a:xfrm>
            <a:off x="4701705" y="1594401"/>
            <a:ext cx="6164252" cy="227490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  <p:pic>
        <p:nvPicPr>
          <p:cNvPr id="9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9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459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5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439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0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2521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3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2400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95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7011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98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933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00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2358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9151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5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1963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7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502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87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2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06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8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8289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4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7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7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595959"/>
                </a:solidFill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6781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9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981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79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4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09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9770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1. </a:t>
              </a:r>
              <a:r>
                <a:rPr lang="en-US" sz="1000" dirty="0" err="1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xxxx</a:t>
              </a: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  2. </a:t>
              </a:r>
              <a:r>
                <a:rPr lang="en-US" sz="1000" dirty="0" err="1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xxxx</a:t>
              </a: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  3. </a:t>
              </a:r>
              <a:r>
                <a:rPr lang="en-US" sz="1000" dirty="0" err="1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xxxx</a:t>
              </a:r>
              <a:endParaRPr lang="en-US" sz="10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9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77381" y="1115416"/>
            <a:ext cx="275331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07426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032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7509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1773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rgbClr val="FFFFFF"/>
                </a:solidFill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92094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FFAB40"/>
              </a:solidFill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2540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37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684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FFFFFF"/>
                </a:solidFill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8000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595959"/>
                </a:solidFill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5250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517034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a" smtClean="0">
                <a:solidFill>
                  <a:srgbClr val="595959"/>
                </a:solidFill>
              </a:rPr>
              <a:pPr/>
              <a:t>‹#›</a:t>
            </a:fld>
            <a:endParaRPr lang="da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2164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a" smtClean="0">
                <a:solidFill>
                  <a:srgbClr val="595959"/>
                </a:solidFill>
              </a:rPr>
              <a:pPr/>
              <a:t>‹#›</a:t>
            </a:fld>
            <a:endParaRPr lang="da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5266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30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296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2283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7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4673646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936542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4673646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668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2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6256799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53143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6256799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557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7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077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10933201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3435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92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26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7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256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3006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28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77670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08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229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6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072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8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734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23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11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6277129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8494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8102183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9747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5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302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8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751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0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012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30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39487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0222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7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39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3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3601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2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4748422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84202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535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8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4748422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955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6255096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17744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6255096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8276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2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1426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387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9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660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51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17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67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15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651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247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755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12354" y="1115416"/>
            <a:ext cx="2483372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36942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1909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7"/>
          <p:cNvSpPr txBox="1">
            <a:spLocks/>
          </p:cNvSpPr>
          <p:nvPr userDrawn="1"/>
        </p:nvSpPr>
        <p:spPr>
          <a:xfrm>
            <a:off x="629400" y="151901"/>
            <a:ext cx="6255096" cy="94179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400" b="0" i="0" u="none" kern="1200" spc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18950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71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67363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595959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0223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39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59595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7"/>
          <p:cNvSpPr txBox="1">
            <a:spLocks/>
          </p:cNvSpPr>
          <p:nvPr userDrawn="1"/>
        </p:nvSpPr>
        <p:spPr>
          <a:xfrm>
            <a:off x="629400" y="151901"/>
            <a:ext cx="6255096" cy="94179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400" b="0" i="0" u="none" kern="1200" spc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1181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8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81548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8999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6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892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53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7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3176400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9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8752125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5818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404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4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83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248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9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236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1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190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4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89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6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496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8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6256800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30874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8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087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1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065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3592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60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279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28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6101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573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3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2655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5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06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8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2286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0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089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1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675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42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34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5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964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7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88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97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2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828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38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7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0030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9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1. </a:t>
              </a:r>
              <a:r>
                <a:rPr lang="en-US" sz="1000" dirty="0" err="1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xxxx</a:t>
              </a: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  2. </a:t>
              </a:r>
              <a:r>
                <a:rPr lang="en-US" sz="1000" dirty="0" err="1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xxxx</a:t>
              </a: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  3. </a:t>
              </a:r>
              <a:r>
                <a:rPr lang="en-US" sz="1000" dirty="0" err="1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xxxx</a:t>
              </a:r>
              <a:endParaRPr lang="en-US" sz="10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20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2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190536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4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752125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00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3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6383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66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179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6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6E6F73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48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1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ln/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12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4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354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6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095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948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1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59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3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035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6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864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84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ГИС Меркурий_.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902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102.xml"/><Relationship Id="rId47" Type="http://schemas.openxmlformats.org/officeDocument/2006/relationships/slideLayout" Target="../slideLayouts/slideLayout107.xml"/><Relationship Id="rId63" Type="http://schemas.openxmlformats.org/officeDocument/2006/relationships/slideLayout" Target="../slideLayouts/slideLayout123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67.xml"/><Relationship Id="rId71" Type="http://schemas.openxmlformats.org/officeDocument/2006/relationships/oleObject" Target="../embeddings/oleObject61.bin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00.xml"/><Relationship Id="rId45" Type="http://schemas.openxmlformats.org/officeDocument/2006/relationships/slideLayout" Target="../slideLayouts/slideLayout105.xml"/><Relationship Id="rId53" Type="http://schemas.openxmlformats.org/officeDocument/2006/relationships/slideLayout" Target="../slideLayouts/slideLayout113.xml"/><Relationship Id="rId58" Type="http://schemas.openxmlformats.org/officeDocument/2006/relationships/slideLayout" Target="../slideLayouts/slideLayout118.xml"/><Relationship Id="rId66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65.xml"/><Relationship Id="rId61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Relationship Id="rId43" Type="http://schemas.openxmlformats.org/officeDocument/2006/relationships/slideLayout" Target="../slideLayouts/slideLayout103.xml"/><Relationship Id="rId48" Type="http://schemas.openxmlformats.org/officeDocument/2006/relationships/slideLayout" Target="../slideLayouts/slideLayout108.xml"/><Relationship Id="rId56" Type="http://schemas.openxmlformats.org/officeDocument/2006/relationships/slideLayout" Target="../slideLayouts/slideLayout116.xml"/><Relationship Id="rId64" Type="http://schemas.openxmlformats.org/officeDocument/2006/relationships/slideLayout" Target="../slideLayouts/slideLayout124.xml"/><Relationship Id="rId69" Type="http://schemas.openxmlformats.org/officeDocument/2006/relationships/vmlDrawing" Target="../drawings/vmlDrawing61.vml"/><Relationship Id="rId8" Type="http://schemas.openxmlformats.org/officeDocument/2006/relationships/slideLayout" Target="../slideLayouts/slideLayout68.xml"/><Relationship Id="rId51" Type="http://schemas.openxmlformats.org/officeDocument/2006/relationships/slideLayout" Target="../slideLayouts/slideLayout11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8.xml"/><Relationship Id="rId46" Type="http://schemas.openxmlformats.org/officeDocument/2006/relationships/slideLayout" Target="../slideLayouts/slideLayout106.xml"/><Relationship Id="rId59" Type="http://schemas.openxmlformats.org/officeDocument/2006/relationships/slideLayout" Target="../slideLayouts/slideLayout119.xml"/><Relationship Id="rId67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101.xml"/><Relationship Id="rId54" Type="http://schemas.openxmlformats.org/officeDocument/2006/relationships/slideLayout" Target="../slideLayouts/slideLayout114.xml"/><Relationship Id="rId62" Type="http://schemas.openxmlformats.org/officeDocument/2006/relationships/slideLayout" Target="../slideLayouts/slideLayout122.xml"/><Relationship Id="rId70" Type="http://schemas.openxmlformats.org/officeDocument/2006/relationships/tags" Target="../tags/tag11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96.xml"/><Relationship Id="rId49" Type="http://schemas.openxmlformats.org/officeDocument/2006/relationships/slideLayout" Target="../slideLayouts/slideLayout109.xml"/><Relationship Id="rId57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91.xml"/><Relationship Id="rId44" Type="http://schemas.openxmlformats.org/officeDocument/2006/relationships/slideLayout" Target="../slideLayouts/slideLayout104.xml"/><Relationship Id="rId52" Type="http://schemas.openxmlformats.org/officeDocument/2006/relationships/slideLayout" Target="../slideLayouts/slideLayout112.xml"/><Relationship Id="rId60" Type="http://schemas.openxmlformats.org/officeDocument/2006/relationships/slideLayout" Target="../slideLayouts/slideLayout120.xml"/><Relationship Id="rId65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9" Type="http://schemas.openxmlformats.org/officeDocument/2006/relationships/slideLayout" Target="../slideLayouts/slideLayout99.xml"/><Relationship Id="rId34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110.xml"/><Relationship Id="rId55" Type="http://schemas.openxmlformats.org/officeDocument/2006/relationships/slideLayout" Target="../slideLayouts/slideLayout1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3625592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79" name="think-cell Slide" r:id="rId64" imgW="270" imgH="270" progId="TCLayout.ActiveDocument.1">
                  <p:embed/>
                </p:oleObj>
              </mc:Choice>
              <mc:Fallback>
                <p:oleObj name="think-cell Slide" r:id="rId6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92723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3" r:id="rId1"/>
    <p:sldLayoutId id="2147485354" r:id="rId2"/>
    <p:sldLayoutId id="2147485355" r:id="rId3"/>
    <p:sldLayoutId id="2147485356" r:id="rId4"/>
    <p:sldLayoutId id="2147485357" r:id="rId5"/>
    <p:sldLayoutId id="2147485358" r:id="rId6"/>
    <p:sldLayoutId id="2147485359" r:id="rId7"/>
    <p:sldLayoutId id="2147485360" r:id="rId8"/>
    <p:sldLayoutId id="2147485361" r:id="rId9"/>
    <p:sldLayoutId id="2147485362" r:id="rId10"/>
    <p:sldLayoutId id="2147485363" r:id="rId11"/>
    <p:sldLayoutId id="2147485364" r:id="rId12"/>
    <p:sldLayoutId id="2147485365" r:id="rId13"/>
    <p:sldLayoutId id="2147485366" r:id="rId14"/>
    <p:sldLayoutId id="2147485367" r:id="rId15"/>
    <p:sldLayoutId id="2147485368" r:id="rId16"/>
    <p:sldLayoutId id="2147485369" r:id="rId17"/>
    <p:sldLayoutId id="2147485370" r:id="rId18"/>
    <p:sldLayoutId id="2147485371" r:id="rId19"/>
    <p:sldLayoutId id="2147485372" r:id="rId20"/>
    <p:sldLayoutId id="2147485374" r:id="rId21"/>
    <p:sldLayoutId id="2147485375" r:id="rId22"/>
    <p:sldLayoutId id="2147485376" r:id="rId23"/>
    <p:sldLayoutId id="2147485378" r:id="rId24"/>
    <p:sldLayoutId id="2147485380" r:id="rId25"/>
    <p:sldLayoutId id="2147485381" r:id="rId26"/>
    <p:sldLayoutId id="2147485382" r:id="rId27"/>
    <p:sldLayoutId id="2147485383" r:id="rId28"/>
    <p:sldLayoutId id="2147485384" r:id="rId29"/>
    <p:sldLayoutId id="2147485385" r:id="rId30"/>
    <p:sldLayoutId id="2147485386" r:id="rId31"/>
    <p:sldLayoutId id="2147485387" r:id="rId32"/>
    <p:sldLayoutId id="2147485388" r:id="rId33"/>
    <p:sldLayoutId id="2147485389" r:id="rId34"/>
    <p:sldLayoutId id="2147485390" r:id="rId35"/>
    <p:sldLayoutId id="2147485391" r:id="rId36"/>
    <p:sldLayoutId id="2147485392" r:id="rId37"/>
    <p:sldLayoutId id="2147485393" r:id="rId38"/>
    <p:sldLayoutId id="2147485394" r:id="rId39"/>
    <p:sldLayoutId id="2147485395" r:id="rId40"/>
    <p:sldLayoutId id="2147485396" r:id="rId41"/>
    <p:sldLayoutId id="2147485397" r:id="rId42"/>
    <p:sldLayoutId id="2147485398" r:id="rId43"/>
    <p:sldLayoutId id="2147485399" r:id="rId44"/>
    <p:sldLayoutId id="2147485401" r:id="rId45"/>
    <p:sldLayoutId id="2147485402" r:id="rId46"/>
    <p:sldLayoutId id="2147485403" r:id="rId47"/>
    <p:sldLayoutId id="2147485404" r:id="rId48"/>
    <p:sldLayoutId id="2147485377" r:id="rId49"/>
    <p:sldLayoutId id="2147485406" r:id="rId50"/>
    <p:sldLayoutId id="2147485407" r:id="rId51"/>
    <p:sldLayoutId id="2147485408" r:id="rId52"/>
    <p:sldLayoutId id="2147485409" r:id="rId53"/>
    <p:sldLayoutId id="2147485410" r:id="rId54"/>
    <p:sldLayoutId id="2147485411" r:id="rId55"/>
    <p:sldLayoutId id="2147485412" r:id="rId56"/>
    <p:sldLayoutId id="2147485413" r:id="rId57"/>
    <p:sldLayoutId id="2147485414" r:id="rId58"/>
    <p:sldLayoutId id="2147485415" r:id="rId59"/>
    <p:sldLayoutId id="2147485484" r:id="rId6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48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93707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7" r:id="rId1"/>
    <p:sldLayoutId id="2147485418" r:id="rId2"/>
    <p:sldLayoutId id="2147485419" r:id="rId3"/>
    <p:sldLayoutId id="2147485420" r:id="rId4"/>
    <p:sldLayoutId id="2147485421" r:id="rId5"/>
    <p:sldLayoutId id="2147485422" r:id="rId6"/>
    <p:sldLayoutId id="2147485423" r:id="rId7"/>
    <p:sldLayoutId id="2147485424" r:id="rId8"/>
    <p:sldLayoutId id="2147485425" r:id="rId9"/>
    <p:sldLayoutId id="2147485426" r:id="rId10"/>
    <p:sldLayoutId id="2147485427" r:id="rId11"/>
    <p:sldLayoutId id="2147485428" r:id="rId12"/>
    <p:sldLayoutId id="2147485429" r:id="rId13"/>
    <p:sldLayoutId id="2147485430" r:id="rId14"/>
    <p:sldLayoutId id="2147485431" r:id="rId15"/>
    <p:sldLayoutId id="2147485432" r:id="rId16"/>
    <p:sldLayoutId id="2147485433" r:id="rId17"/>
    <p:sldLayoutId id="2147485434" r:id="rId18"/>
    <p:sldLayoutId id="2147485435" r:id="rId19"/>
    <p:sldLayoutId id="2147485436" r:id="rId20"/>
    <p:sldLayoutId id="2147485437" r:id="rId21"/>
    <p:sldLayoutId id="2147485438" r:id="rId22"/>
    <p:sldLayoutId id="2147485439" r:id="rId23"/>
    <p:sldLayoutId id="2147485440" r:id="rId24"/>
    <p:sldLayoutId id="2147485441" r:id="rId25"/>
    <p:sldLayoutId id="2147485442" r:id="rId26"/>
    <p:sldLayoutId id="2147485443" r:id="rId27"/>
    <p:sldLayoutId id="2147485444" r:id="rId28"/>
    <p:sldLayoutId id="2147485445" r:id="rId29"/>
    <p:sldLayoutId id="2147485446" r:id="rId30"/>
    <p:sldLayoutId id="2147485447" r:id="rId31"/>
    <p:sldLayoutId id="2147485448" r:id="rId32"/>
    <p:sldLayoutId id="2147485449" r:id="rId33"/>
    <p:sldLayoutId id="2147485450" r:id="rId34"/>
    <p:sldLayoutId id="2147485451" r:id="rId35"/>
    <p:sldLayoutId id="2147485452" r:id="rId36"/>
    <p:sldLayoutId id="2147485453" r:id="rId37"/>
    <p:sldLayoutId id="2147485454" r:id="rId38"/>
    <p:sldLayoutId id="2147485455" r:id="rId39"/>
    <p:sldLayoutId id="2147485456" r:id="rId40"/>
    <p:sldLayoutId id="2147485457" r:id="rId41"/>
    <p:sldLayoutId id="2147485458" r:id="rId42"/>
    <p:sldLayoutId id="2147485459" r:id="rId43"/>
    <p:sldLayoutId id="2147485460" r:id="rId44"/>
    <p:sldLayoutId id="2147485461" r:id="rId45"/>
    <p:sldLayoutId id="2147485462" r:id="rId46"/>
    <p:sldLayoutId id="2147485463" r:id="rId47"/>
    <p:sldLayoutId id="2147485464" r:id="rId48"/>
    <p:sldLayoutId id="2147485465" r:id="rId49"/>
    <p:sldLayoutId id="2147485466" r:id="rId50"/>
    <p:sldLayoutId id="2147485467" r:id="rId51"/>
    <p:sldLayoutId id="2147485468" r:id="rId52"/>
    <p:sldLayoutId id="2147485469" r:id="rId53"/>
    <p:sldLayoutId id="2147485470" r:id="rId54"/>
    <p:sldLayoutId id="2147485471" r:id="rId55"/>
    <p:sldLayoutId id="2147485472" r:id="rId56"/>
    <p:sldLayoutId id="2147485473" r:id="rId57"/>
    <p:sldLayoutId id="2147485474" r:id="rId58"/>
    <p:sldLayoutId id="2147485475" r:id="rId59"/>
    <p:sldLayoutId id="2147485476" r:id="rId60"/>
    <p:sldLayoutId id="2147485477" r:id="rId61"/>
    <p:sldLayoutId id="2147485478" r:id="rId62"/>
    <p:sldLayoutId id="2147485479" r:id="rId63"/>
    <p:sldLayoutId id="2147485480" r:id="rId64"/>
    <p:sldLayoutId id="2147485481" r:id="rId65"/>
    <p:sldLayoutId id="2147485482" r:id="rId66"/>
    <p:sldLayoutId id="2147485483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16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9.png"/><Relationship Id="rId2" Type="http://schemas.openxmlformats.org/officeDocument/2006/relationships/tags" Target="../tags/tag231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2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0.emf"/><Relationship Id="rId2" Type="http://schemas.openxmlformats.org/officeDocument/2006/relationships/tags" Target="../tags/tag232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2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3.png"/><Relationship Id="rId2" Type="http://schemas.openxmlformats.org/officeDocument/2006/relationships/tags" Target="../tags/tag233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130.bin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2.png"/><Relationship Id="rId18" Type="http://schemas.openxmlformats.org/officeDocument/2006/relationships/image" Target="../media/image23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17" Type="http://schemas.openxmlformats.org/officeDocument/2006/relationships/image" Target="../media/image6.png"/><Relationship Id="rId2" Type="http://schemas.openxmlformats.org/officeDocument/2006/relationships/tags" Target="../tags/tag234.xml"/><Relationship Id="rId16" Type="http://schemas.openxmlformats.org/officeDocument/2006/relationships/image" Target="../media/image35.png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34.png"/><Relationship Id="rId10" Type="http://schemas.openxmlformats.org/officeDocument/2006/relationships/image" Target="../media/image25.png"/><Relationship Id="rId19" Type="http://schemas.openxmlformats.org/officeDocument/2006/relationships/image" Target="../media/image24.png"/><Relationship Id="rId4" Type="http://schemas.openxmlformats.org/officeDocument/2006/relationships/oleObject" Target="../embeddings/oleObject131.bin"/><Relationship Id="rId9" Type="http://schemas.openxmlformats.org/officeDocument/2006/relationships/image" Target="../media/image29.png"/><Relationship Id="rId1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6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3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3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"/>
          <p:cNvSpPr txBox="1">
            <a:spLocks/>
          </p:cNvSpPr>
          <p:nvPr/>
        </p:nvSpPr>
        <p:spPr>
          <a:xfrm>
            <a:off x="4724400" y="1954419"/>
            <a:ext cx="7013084" cy="196977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ru-RU" sz="3200" dirty="0">
                <a:solidFill>
                  <a:srgbClr val="FFFFFF"/>
                </a:solidFill>
              </a:rPr>
              <a:t/>
            </a:r>
            <a:br>
              <a:rPr lang="ru-RU" sz="3200" dirty="0">
                <a:solidFill>
                  <a:srgbClr val="FFFFFF"/>
                </a:solidFill>
              </a:rPr>
            </a:br>
            <a:r>
              <a:rPr lang="ru-RU" sz="3200" dirty="0">
                <a:solidFill>
                  <a:srgbClr val="FFFFFF"/>
                </a:solidFill>
              </a:rPr>
              <a:t>Единая система маркировки и </a:t>
            </a:r>
            <a:r>
              <a:rPr lang="ru-RU" sz="3200" dirty="0" err="1">
                <a:solidFill>
                  <a:srgbClr val="FFFFFF"/>
                </a:solidFill>
              </a:rPr>
              <a:t>прослеживаемости</a:t>
            </a:r>
            <a:r>
              <a:rPr lang="ru-RU" sz="3200" dirty="0">
                <a:solidFill>
                  <a:srgbClr val="FFFFFF"/>
                </a:solidFill>
              </a:rPr>
              <a:t> товаров </a:t>
            </a:r>
            <a:r>
              <a:rPr lang="ru-RU" sz="3200" dirty="0">
                <a:latin typeface="PT Sans Caption" panose="020B0603020203020204" pitchFamily="34" charset="-52"/>
              </a:rPr>
              <a:t>Национальный каталог </a:t>
            </a:r>
            <a:endParaRPr lang="en-US" sz="3200" dirty="0">
              <a:latin typeface="PT Sans Caption" panose="020B0603020203020204" pitchFamily="34" charset="-52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12648" y="274320"/>
            <a:ext cx="2396383" cy="1664716"/>
            <a:chOff x="612648" y="274320"/>
            <a:chExt cx="2396383" cy="1664716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2382" y="274320"/>
              <a:ext cx="1116649" cy="1664716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2648" y="274320"/>
              <a:ext cx="1119580" cy="16647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999" y="345801"/>
            <a:ext cx="10936224" cy="609398"/>
          </a:xfrm>
        </p:spPr>
        <p:txBody>
          <a:bodyPr/>
          <a:lstStyle/>
          <a:p>
            <a:r>
              <a:rPr lang="bg-BG" dirty="0"/>
              <a:t>Перечень товарных групп, подлежащих обязательной</a:t>
            </a:r>
            <a:br>
              <a:rPr lang="bg-BG" dirty="0"/>
            </a:br>
            <a:r>
              <a:rPr lang="bg-BG" dirty="0"/>
              <a:t>маркировке в РФ</a:t>
            </a:r>
          </a:p>
        </p:txBody>
      </p:sp>
      <p:sp>
        <p:nvSpPr>
          <p:cNvPr id="3" name="ee4pHeader1"/>
          <p:cNvSpPr txBox="1"/>
          <p:nvPr/>
        </p:nvSpPr>
        <p:spPr>
          <a:xfrm>
            <a:off x="630000" y="1582252"/>
            <a:ext cx="10936224" cy="49244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/>
            <a:r>
              <a:rPr lang="bg-BG" sz="1600" b="1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Перечень товарных групп, маркируемых согласно Распоряжению Правительства РФ от 28 апреля 2018 г. №792-р</a:t>
            </a:r>
          </a:p>
        </p:txBody>
      </p:sp>
      <p:pic>
        <p:nvPicPr>
          <p:cNvPr id="4" name="Рисунок 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564" b="32315"/>
          <a:stretch/>
        </p:blipFill>
        <p:spPr>
          <a:xfrm>
            <a:off x="630000" y="2343284"/>
            <a:ext cx="10936224" cy="1914432"/>
          </a:xfrm>
          <a:prstGeom prst="rect">
            <a:avLst/>
          </a:prstGeom>
        </p:spPr>
      </p:pic>
      <p:sp>
        <p:nvSpPr>
          <p:cNvPr id="43" name="Oval 42"/>
          <p:cNvSpPr/>
          <p:nvPr/>
        </p:nvSpPr>
        <p:spPr>
          <a:xfrm>
            <a:off x="4356129" y="4526305"/>
            <a:ext cx="1092364" cy="1092364"/>
          </a:xfrm>
          <a:prstGeom prst="ellipse">
            <a:avLst/>
          </a:prstGeom>
          <a:noFill/>
          <a:ln w="1905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595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8082258" y="4526305"/>
            <a:ext cx="1092364" cy="1092364"/>
          </a:xfrm>
          <a:prstGeom prst="ellipse">
            <a:avLst/>
          </a:prstGeom>
          <a:noFill/>
          <a:ln w="1905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595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630000" y="4526305"/>
            <a:ext cx="1092364" cy="1092364"/>
          </a:xfrm>
          <a:prstGeom prst="ellipse">
            <a:avLst/>
          </a:prstGeom>
          <a:noFill/>
          <a:ln w="1905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595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4" name="ee4pContent2"/>
          <p:cNvSpPr txBox="1"/>
          <p:nvPr/>
        </p:nvSpPr>
        <p:spPr>
          <a:xfrm>
            <a:off x="9416789" y="4641600"/>
            <a:ext cx="2149435" cy="86177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1D1D1D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>
            <a:defPPr>
              <a:defRPr lang="en-US"/>
            </a:defPPr>
            <a:lvl1pPr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95959"/>
                </a:solidFill>
                <a:latin typeface="PT Sans Caption" panose="020B0603020203020204" charset="0"/>
                <a:cs typeface="Arial" pitchFamily="34" charset="0"/>
              </a:defRPr>
            </a:lvl1pPr>
            <a:lvl2pPr marL="324000" lvl="1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95959"/>
                </a:solidFill>
                <a:latin typeface="PT Sans Caption" panose="020B0603020203020204" charset="0"/>
              </a:defRPr>
            </a:lvl2pPr>
            <a:lvl3pPr marL="648000" lvl="2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95959"/>
                </a:solidFill>
                <a:latin typeface="PT Sans Caption" panose="020B0603020203020204" charset="0"/>
              </a:defRPr>
            </a:lvl3pPr>
            <a:lvl4pPr marL="0" lvl="3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95959"/>
                </a:solidFill>
                <a:latin typeface="PT Sans Caption" panose="020B0603020203020204" charset="0"/>
              </a:defRPr>
            </a:lvl4pPr>
            <a:lvl5pPr marL="0" lvl="4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95959"/>
                </a:solidFill>
                <a:latin typeface="PT Sans Caption" panose="020B0603020203020204" charset="0"/>
              </a:defRPr>
            </a:lvl5pPr>
            <a:lvl6pPr marL="324000" lvl="5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95959"/>
                </a:solidFill>
                <a:latin typeface="PT Sans Caption" panose="020B0603020203020204" charset="0"/>
              </a:defRPr>
            </a:lvl6pPr>
            <a:lvl7pPr marL="0" lvl="6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95959"/>
                </a:solidFill>
                <a:latin typeface="PT Sans Caption" panose="020B0603020203020204" charset="0"/>
              </a:defRPr>
            </a:lvl7pPr>
            <a:lvl8pPr marL="0" lvl="7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595959"/>
                </a:solidFill>
                <a:latin typeface="PT Sans Caption" panose="020B0603020203020204" charset="0"/>
              </a:defRPr>
            </a:lvl8pPr>
            <a:lvl9pPr marL="0" lvl="8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595959"/>
                </a:solidFill>
                <a:latin typeface="PT Sans Caption" panose="020B0603020203020204" charset="0"/>
              </a:defRPr>
            </a:lvl9pPr>
          </a:lstStyle>
          <a:p>
            <a:pPr>
              <a:buNone/>
            </a:pPr>
            <a:r>
              <a:rPr lang="bg-BG" sz="1400" b="1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Бизнес</a:t>
            </a:r>
          </a:p>
          <a:p>
            <a:pPr>
              <a:buNone/>
            </a:pPr>
            <a:r>
              <a:rPr lang="bg-BG" sz="14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Повышение конкурентоспособности “белого бизнеса”</a:t>
            </a:r>
          </a:p>
        </p:txBody>
      </p:sp>
      <p:sp>
        <p:nvSpPr>
          <p:cNvPr id="25" name="ee4pContent2"/>
          <p:cNvSpPr txBox="1"/>
          <p:nvPr/>
        </p:nvSpPr>
        <p:spPr>
          <a:xfrm>
            <a:off x="5690658" y="4641600"/>
            <a:ext cx="2149435" cy="6463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1D1D1D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>
            <a:defPPr>
              <a:defRPr lang="en-US"/>
            </a:defPPr>
            <a:lvl1pPr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95959"/>
                </a:solidFill>
                <a:latin typeface="PT Sans Caption" panose="020B0603020203020204" charset="0"/>
                <a:cs typeface="Arial" pitchFamily="34" charset="0"/>
              </a:defRPr>
            </a:lvl1pPr>
            <a:lvl2pPr marL="324000" lvl="1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95959"/>
                </a:solidFill>
                <a:latin typeface="PT Sans Caption" panose="020B0603020203020204" charset="0"/>
              </a:defRPr>
            </a:lvl2pPr>
            <a:lvl3pPr marL="648000" lvl="2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95959"/>
                </a:solidFill>
                <a:latin typeface="PT Sans Caption" panose="020B0603020203020204" charset="0"/>
              </a:defRPr>
            </a:lvl3pPr>
            <a:lvl4pPr marL="0" lvl="3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95959"/>
                </a:solidFill>
                <a:latin typeface="PT Sans Caption" panose="020B0603020203020204" charset="0"/>
              </a:defRPr>
            </a:lvl4pPr>
            <a:lvl5pPr marL="0" lvl="4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95959"/>
                </a:solidFill>
                <a:latin typeface="PT Sans Caption" panose="020B0603020203020204" charset="0"/>
              </a:defRPr>
            </a:lvl5pPr>
            <a:lvl6pPr marL="324000" lvl="5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95959"/>
                </a:solidFill>
                <a:latin typeface="PT Sans Caption" panose="020B0603020203020204" charset="0"/>
              </a:defRPr>
            </a:lvl6pPr>
            <a:lvl7pPr marL="0" lvl="6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95959"/>
                </a:solidFill>
                <a:latin typeface="PT Sans Caption" panose="020B0603020203020204" charset="0"/>
              </a:defRPr>
            </a:lvl7pPr>
            <a:lvl8pPr marL="0" lvl="7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595959"/>
                </a:solidFill>
                <a:latin typeface="PT Sans Caption" panose="020B0603020203020204" charset="0"/>
              </a:defRPr>
            </a:lvl8pPr>
            <a:lvl9pPr marL="0" lvl="8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595959"/>
                </a:solidFill>
                <a:latin typeface="PT Sans Caption" panose="020B0603020203020204" charset="0"/>
              </a:defRPr>
            </a:lvl9pPr>
          </a:lstStyle>
          <a:p>
            <a:pPr>
              <a:buNone/>
            </a:pPr>
            <a:r>
              <a:rPr lang="bg-BG" sz="1400" b="1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Государство</a:t>
            </a:r>
          </a:p>
          <a:p>
            <a:pPr>
              <a:buNone/>
            </a:pPr>
            <a:r>
              <a:rPr lang="bg-BG" sz="14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Повышение налоговых сборов</a:t>
            </a:r>
          </a:p>
        </p:txBody>
      </p:sp>
      <p:sp>
        <p:nvSpPr>
          <p:cNvPr id="26" name="ee4pContent2"/>
          <p:cNvSpPr txBox="1"/>
          <p:nvPr/>
        </p:nvSpPr>
        <p:spPr>
          <a:xfrm>
            <a:off x="1964529" y="4641600"/>
            <a:ext cx="2149435" cy="86177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1D1D1D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>
            <a:defPPr>
              <a:defRPr lang="en-US"/>
            </a:defPPr>
            <a:lvl1pPr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95959"/>
                </a:solidFill>
                <a:latin typeface="PT Sans Caption" panose="020B0603020203020204" charset="0"/>
                <a:cs typeface="Arial" pitchFamily="34" charset="0"/>
              </a:defRPr>
            </a:lvl1pPr>
            <a:lvl2pPr marL="324000" lvl="1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95959"/>
                </a:solidFill>
                <a:latin typeface="PT Sans Caption" panose="020B0603020203020204" charset="0"/>
              </a:defRPr>
            </a:lvl2pPr>
            <a:lvl3pPr marL="648000" lvl="2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95959"/>
                </a:solidFill>
                <a:latin typeface="PT Sans Caption" panose="020B0603020203020204" charset="0"/>
              </a:defRPr>
            </a:lvl3pPr>
            <a:lvl4pPr marL="0" lvl="3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95959"/>
                </a:solidFill>
                <a:latin typeface="PT Sans Caption" panose="020B0603020203020204" charset="0"/>
              </a:defRPr>
            </a:lvl4pPr>
            <a:lvl5pPr marL="0" lvl="4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95959"/>
                </a:solidFill>
                <a:latin typeface="PT Sans Caption" panose="020B0603020203020204" charset="0"/>
              </a:defRPr>
            </a:lvl5pPr>
            <a:lvl6pPr marL="324000" lvl="5" indent="-216000">
              <a:buClr>
                <a:srgbClr val="595959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95959"/>
                </a:solidFill>
                <a:latin typeface="PT Sans Caption" panose="020B0603020203020204" charset="0"/>
              </a:defRPr>
            </a:lvl6pPr>
            <a:lvl7pPr marL="0" lvl="6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95959"/>
                </a:solidFill>
                <a:latin typeface="PT Sans Caption" panose="020B0603020203020204" charset="0"/>
              </a:defRPr>
            </a:lvl7pPr>
            <a:lvl8pPr marL="0" lvl="7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595959"/>
                </a:solidFill>
                <a:latin typeface="PT Sans Caption" panose="020B0603020203020204" charset="0"/>
              </a:defRPr>
            </a:lvl8pPr>
            <a:lvl9pPr marL="0" lvl="8">
              <a:buClr>
                <a:srgbClr val="595959"/>
              </a:buClr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595959"/>
                </a:solidFill>
                <a:latin typeface="PT Sans Caption" panose="020B0603020203020204" charset="0"/>
              </a:defRPr>
            </a:lvl9pPr>
          </a:lstStyle>
          <a:p>
            <a:pPr>
              <a:buNone/>
            </a:pPr>
            <a:r>
              <a:rPr lang="bg-BG" sz="1400" b="1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Потребитель</a:t>
            </a:r>
          </a:p>
          <a:p>
            <a:pPr>
              <a:buNone/>
            </a:pPr>
            <a:r>
              <a:rPr lang="bg-BG" sz="14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Уверенность в покупке легальных и качественных товаров</a:t>
            </a:r>
          </a:p>
        </p:txBody>
      </p:sp>
      <p:grpSp>
        <p:nvGrpSpPr>
          <p:cNvPr id="27" name="Group 4">
            <a:extLst>
              <a:ext uri="{FF2B5EF4-FFF2-40B4-BE49-F238E27FC236}">
                <a16:creationId xmlns:a16="http://schemas.microsoft.com/office/drawing/2014/main" id="{E42F193C-EFC2-4120-9FE7-08636FD2D6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0422" y="4706388"/>
            <a:ext cx="731520" cy="732198"/>
            <a:chOff x="1682" y="0"/>
            <a:chExt cx="4316" cy="4320"/>
          </a:xfrm>
        </p:grpSpPr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091F2E4A-78A5-470F-98F0-2E282E0D54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8185E6AF-A331-4624-B3AA-0A6E964A0B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" y="698"/>
              <a:ext cx="2996" cy="2895"/>
            </a:xfrm>
            <a:custGeom>
              <a:avLst/>
              <a:gdLst>
                <a:gd name="T0" fmla="*/ 773 w 1599"/>
                <a:gd name="T1" fmla="*/ 467 h 1544"/>
                <a:gd name="T2" fmla="*/ 800 w 1599"/>
                <a:gd name="T3" fmla="*/ 552 h 1544"/>
                <a:gd name="T4" fmla="*/ 682 w 1599"/>
                <a:gd name="T5" fmla="*/ 587 h 1544"/>
                <a:gd name="T6" fmla="*/ 211 w 1599"/>
                <a:gd name="T7" fmla="*/ 308 h 1544"/>
                <a:gd name="T8" fmla="*/ 173 w 1599"/>
                <a:gd name="T9" fmla="*/ 330 h 1544"/>
                <a:gd name="T10" fmla="*/ 21 w 1599"/>
                <a:gd name="T11" fmla="*/ 555 h 1544"/>
                <a:gd name="T12" fmla="*/ 0 w 1599"/>
                <a:gd name="T13" fmla="*/ 393 h 1544"/>
                <a:gd name="T14" fmla="*/ 387 w 1599"/>
                <a:gd name="T15" fmla="*/ 0 h 1544"/>
                <a:gd name="T16" fmla="*/ 774 w 1599"/>
                <a:gd name="T17" fmla="*/ 393 h 1544"/>
                <a:gd name="T18" fmla="*/ 773 w 1599"/>
                <a:gd name="T19" fmla="*/ 467 h 1544"/>
                <a:gd name="T20" fmla="*/ 1599 w 1599"/>
                <a:gd name="T21" fmla="*/ 1530 h 1544"/>
                <a:gd name="T22" fmla="*/ 1573 w 1599"/>
                <a:gd name="T23" fmla="*/ 709 h 1544"/>
                <a:gd name="T24" fmla="*/ 1559 w 1599"/>
                <a:gd name="T25" fmla="*/ 694 h 1544"/>
                <a:gd name="T26" fmla="*/ 948 w 1599"/>
                <a:gd name="T27" fmla="*/ 694 h 1544"/>
                <a:gd name="T28" fmla="*/ 933 w 1599"/>
                <a:gd name="T29" fmla="*/ 709 h 1544"/>
                <a:gd name="T30" fmla="*/ 907 w 1599"/>
                <a:gd name="T31" fmla="*/ 1530 h 1544"/>
                <a:gd name="T32" fmla="*/ 922 w 1599"/>
                <a:gd name="T33" fmla="*/ 1544 h 1544"/>
                <a:gd name="T34" fmla="*/ 1585 w 1599"/>
                <a:gd name="T35" fmla="*/ 1544 h 1544"/>
                <a:gd name="T36" fmla="*/ 1599 w 1599"/>
                <a:gd name="T37" fmla="*/ 1530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9" h="1544">
                  <a:moveTo>
                    <a:pt x="773" y="467"/>
                  </a:moveTo>
                  <a:cubicBezTo>
                    <a:pt x="771" y="488"/>
                    <a:pt x="778" y="520"/>
                    <a:pt x="800" y="552"/>
                  </a:cubicBezTo>
                  <a:cubicBezTo>
                    <a:pt x="800" y="552"/>
                    <a:pt x="720" y="609"/>
                    <a:pt x="682" y="587"/>
                  </a:cubicBezTo>
                  <a:cubicBezTo>
                    <a:pt x="638" y="563"/>
                    <a:pt x="453" y="308"/>
                    <a:pt x="211" y="308"/>
                  </a:cubicBezTo>
                  <a:cubicBezTo>
                    <a:pt x="211" y="308"/>
                    <a:pt x="185" y="323"/>
                    <a:pt x="173" y="330"/>
                  </a:cubicBezTo>
                  <a:cubicBezTo>
                    <a:pt x="64" y="405"/>
                    <a:pt x="59" y="589"/>
                    <a:pt x="21" y="555"/>
                  </a:cubicBezTo>
                  <a:cubicBezTo>
                    <a:pt x="7" y="537"/>
                    <a:pt x="0" y="441"/>
                    <a:pt x="0" y="393"/>
                  </a:cubicBezTo>
                  <a:cubicBezTo>
                    <a:pt x="0" y="176"/>
                    <a:pt x="168" y="0"/>
                    <a:pt x="387" y="0"/>
                  </a:cubicBezTo>
                  <a:cubicBezTo>
                    <a:pt x="606" y="0"/>
                    <a:pt x="774" y="176"/>
                    <a:pt x="774" y="393"/>
                  </a:cubicBezTo>
                  <a:cubicBezTo>
                    <a:pt x="774" y="419"/>
                    <a:pt x="775" y="443"/>
                    <a:pt x="773" y="467"/>
                  </a:cubicBezTo>
                  <a:close/>
                  <a:moveTo>
                    <a:pt x="1599" y="1530"/>
                  </a:moveTo>
                  <a:cubicBezTo>
                    <a:pt x="1573" y="709"/>
                    <a:pt x="1573" y="709"/>
                    <a:pt x="1573" y="709"/>
                  </a:cubicBezTo>
                  <a:cubicBezTo>
                    <a:pt x="1573" y="701"/>
                    <a:pt x="1567" y="694"/>
                    <a:pt x="1559" y="694"/>
                  </a:cubicBezTo>
                  <a:cubicBezTo>
                    <a:pt x="948" y="694"/>
                    <a:pt x="948" y="694"/>
                    <a:pt x="948" y="694"/>
                  </a:cubicBezTo>
                  <a:cubicBezTo>
                    <a:pt x="940" y="694"/>
                    <a:pt x="933" y="701"/>
                    <a:pt x="933" y="709"/>
                  </a:cubicBezTo>
                  <a:cubicBezTo>
                    <a:pt x="907" y="1530"/>
                    <a:pt x="907" y="1530"/>
                    <a:pt x="907" y="1530"/>
                  </a:cubicBezTo>
                  <a:cubicBezTo>
                    <a:pt x="907" y="1538"/>
                    <a:pt x="914" y="1544"/>
                    <a:pt x="922" y="1544"/>
                  </a:cubicBezTo>
                  <a:cubicBezTo>
                    <a:pt x="1585" y="1544"/>
                    <a:pt x="1585" y="1544"/>
                    <a:pt x="1585" y="1544"/>
                  </a:cubicBezTo>
                  <a:cubicBezTo>
                    <a:pt x="1593" y="1544"/>
                    <a:pt x="1599" y="1538"/>
                    <a:pt x="1599" y="1530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7FC8C928-4EA2-4812-9464-A232792EA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1547"/>
              <a:ext cx="3480" cy="1817"/>
            </a:xfrm>
            <a:custGeom>
              <a:avLst/>
              <a:gdLst>
                <a:gd name="T0" fmla="*/ 1171 w 1858"/>
                <a:gd name="T1" fmla="*/ 159 h 969"/>
                <a:gd name="T2" fmla="*/ 1116 w 1858"/>
                <a:gd name="T3" fmla="*/ 240 h 969"/>
                <a:gd name="T4" fmla="*/ 990 w 1858"/>
                <a:gd name="T5" fmla="*/ 495 h 969"/>
                <a:gd name="T6" fmla="*/ 984 w 1858"/>
                <a:gd name="T7" fmla="*/ 501 h 969"/>
                <a:gd name="T8" fmla="*/ 984 w 1858"/>
                <a:gd name="T9" fmla="*/ 599 h 969"/>
                <a:gd name="T10" fmla="*/ 940 w 1858"/>
                <a:gd name="T11" fmla="*/ 635 h 969"/>
                <a:gd name="T12" fmla="*/ 940 w 1858"/>
                <a:gd name="T13" fmla="*/ 533 h 969"/>
                <a:gd name="T14" fmla="*/ 778 w 1858"/>
                <a:gd name="T15" fmla="*/ 598 h 969"/>
                <a:gd name="T16" fmla="*/ 632 w 1858"/>
                <a:gd name="T17" fmla="*/ 543 h 969"/>
                <a:gd name="T18" fmla="*/ 632 w 1858"/>
                <a:gd name="T19" fmla="*/ 637 h 969"/>
                <a:gd name="T20" fmla="*/ 588 w 1858"/>
                <a:gd name="T21" fmla="*/ 600 h 969"/>
                <a:gd name="T22" fmla="*/ 588 w 1858"/>
                <a:gd name="T23" fmla="*/ 513 h 969"/>
                <a:gd name="T24" fmla="*/ 566 w 1858"/>
                <a:gd name="T25" fmla="*/ 495 h 969"/>
                <a:gd name="T26" fmla="*/ 441 w 1858"/>
                <a:gd name="T27" fmla="*/ 241 h 969"/>
                <a:gd name="T28" fmla="*/ 381 w 1858"/>
                <a:gd name="T29" fmla="*/ 116 h 969"/>
                <a:gd name="T30" fmla="*/ 383 w 1858"/>
                <a:gd name="T31" fmla="*/ 108 h 969"/>
                <a:gd name="T32" fmla="*/ 395 w 1858"/>
                <a:gd name="T33" fmla="*/ 130 h 969"/>
                <a:gd name="T34" fmla="*/ 428 w 1858"/>
                <a:gd name="T35" fmla="*/ 144 h 969"/>
                <a:gd name="T36" fmla="*/ 465 w 1858"/>
                <a:gd name="T37" fmla="*/ 203 h 969"/>
                <a:gd name="T38" fmla="*/ 478 w 1858"/>
                <a:gd name="T39" fmla="*/ 216 h 969"/>
                <a:gd name="T40" fmla="*/ 595 w 1858"/>
                <a:gd name="T41" fmla="*/ 463 h 969"/>
                <a:gd name="T42" fmla="*/ 778 w 1858"/>
                <a:gd name="T43" fmla="*/ 554 h 969"/>
                <a:gd name="T44" fmla="*/ 961 w 1858"/>
                <a:gd name="T45" fmla="*/ 463 h 969"/>
                <a:gd name="T46" fmla="*/ 1078 w 1858"/>
                <a:gd name="T47" fmla="*/ 216 h 969"/>
                <a:gd name="T48" fmla="*/ 1089 w 1858"/>
                <a:gd name="T49" fmla="*/ 205 h 969"/>
                <a:gd name="T50" fmla="*/ 1118 w 1858"/>
                <a:gd name="T51" fmla="*/ 176 h 969"/>
                <a:gd name="T52" fmla="*/ 1171 w 1858"/>
                <a:gd name="T53" fmla="*/ 159 h 969"/>
                <a:gd name="T54" fmla="*/ 1498 w 1858"/>
                <a:gd name="T55" fmla="*/ 197 h 969"/>
                <a:gd name="T56" fmla="*/ 1656 w 1858"/>
                <a:gd name="T57" fmla="*/ 44 h 969"/>
                <a:gd name="T58" fmla="*/ 1814 w 1858"/>
                <a:gd name="T59" fmla="*/ 197 h 969"/>
                <a:gd name="T60" fmla="*/ 1858 w 1858"/>
                <a:gd name="T61" fmla="*/ 197 h 969"/>
                <a:gd name="T62" fmla="*/ 1799 w 1858"/>
                <a:gd name="T63" fmla="*/ 55 h 969"/>
                <a:gd name="T64" fmla="*/ 1656 w 1858"/>
                <a:gd name="T65" fmla="*/ 0 h 969"/>
                <a:gd name="T66" fmla="*/ 1513 w 1858"/>
                <a:gd name="T67" fmla="*/ 55 h 969"/>
                <a:gd name="T68" fmla="*/ 1454 w 1858"/>
                <a:gd name="T69" fmla="*/ 197 h 969"/>
                <a:gd name="T70" fmla="*/ 1498 w 1858"/>
                <a:gd name="T71" fmla="*/ 197 h 969"/>
                <a:gd name="T72" fmla="*/ 1276 w 1858"/>
                <a:gd name="T73" fmla="*/ 636 h 969"/>
                <a:gd name="T74" fmla="*/ 1039 w 1858"/>
                <a:gd name="T75" fmla="*/ 610 h 969"/>
                <a:gd name="T76" fmla="*/ 791 w 1858"/>
                <a:gd name="T77" fmla="*/ 814 h 969"/>
                <a:gd name="T78" fmla="*/ 780 w 1858"/>
                <a:gd name="T79" fmla="*/ 814 h 969"/>
                <a:gd name="T80" fmla="*/ 531 w 1858"/>
                <a:gd name="T81" fmla="*/ 610 h 969"/>
                <a:gd name="T82" fmla="*/ 194 w 1858"/>
                <a:gd name="T83" fmla="*/ 668 h 969"/>
                <a:gd name="T84" fmla="*/ 5 w 1858"/>
                <a:gd name="T85" fmla="*/ 944 h 969"/>
                <a:gd name="T86" fmla="*/ 23 w 1858"/>
                <a:gd name="T87" fmla="*/ 969 h 969"/>
                <a:gd name="T88" fmla="*/ 1266 w 1858"/>
                <a:gd name="T89" fmla="*/ 969 h 969"/>
                <a:gd name="T90" fmla="*/ 1276 w 1858"/>
                <a:gd name="T91" fmla="*/ 636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8" h="969">
                  <a:moveTo>
                    <a:pt x="1171" y="159"/>
                  </a:moveTo>
                  <a:cubicBezTo>
                    <a:pt x="1166" y="182"/>
                    <a:pt x="1152" y="218"/>
                    <a:pt x="1116" y="240"/>
                  </a:cubicBezTo>
                  <a:cubicBezTo>
                    <a:pt x="1096" y="290"/>
                    <a:pt x="1026" y="464"/>
                    <a:pt x="990" y="495"/>
                  </a:cubicBezTo>
                  <a:cubicBezTo>
                    <a:pt x="988" y="497"/>
                    <a:pt x="986" y="499"/>
                    <a:pt x="984" y="501"/>
                  </a:cubicBezTo>
                  <a:cubicBezTo>
                    <a:pt x="984" y="599"/>
                    <a:pt x="984" y="599"/>
                    <a:pt x="984" y="599"/>
                  </a:cubicBezTo>
                  <a:cubicBezTo>
                    <a:pt x="972" y="609"/>
                    <a:pt x="957" y="621"/>
                    <a:pt x="940" y="635"/>
                  </a:cubicBezTo>
                  <a:cubicBezTo>
                    <a:pt x="940" y="533"/>
                    <a:pt x="940" y="533"/>
                    <a:pt x="940" y="533"/>
                  </a:cubicBezTo>
                  <a:cubicBezTo>
                    <a:pt x="891" y="565"/>
                    <a:pt x="825" y="598"/>
                    <a:pt x="778" y="598"/>
                  </a:cubicBezTo>
                  <a:cubicBezTo>
                    <a:pt x="736" y="598"/>
                    <a:pt x="679" y="571"/>
                    <a:pt x="632" y="543"/>
                  </a:cubicBezTo>
                  <a:cubicBezTo>
                    <a:pt x="632" y="637"/>
                    <a:pt x="632" y="637"/>
                    <a:pt x="632" y="637"/>
                  </a:cubicBezTo>
                  <a:cubicBezTo>
                    <a:pt x="615" y="623"/>
                    <a:pt x="600" y="610"/>
                    <a:pt x="588" y="600"/>
                  </a:cubicBezTo>
                  <a:cubicBezTo>
                    <a:pt x="588" y="513"/>
                    <a:pt x="588" y="513"/>
                    <a:pt x="588" y="513"/>
                  </a:cubicBezTo>
                  <a:cubicBezTo>
                    <a:pt x="579" y="507"/>
                    <a:pt x="572" y="501"/>
                    <a:pt x="566" y="495"/>
                  </a:cubicBezTo>
                  <a:cubicBezTo>
                    <a:pt x="531" y="464"/>
                    <a:pt x="461" y="293"/>
                    <a:pt x="441" y="241"/>
                  </a:cubicBezTo>
                  <a:cubicBezTo>
                    <a:pt x="391" y="215"/>
                    <a:pt x="381" y="142"/>
                    <a:pt x="381" y="116"/>
                  </a:cubicBezTo>
                  <a:cubicBezTo>
                    <a:pt x="381" y="113"/>
                    <a:pt x="382" y="110"/>
                    <a:pt x="383" y="108"/>
                  </a:cubicBezTo>
                  <a:cubicBezTo>
                    <a:pt x="387" y="115"/>
                    <a:pt x="390" y="123"/>
                    <a:pt x="395" y="130"/>
                  </a:cubicBezTo>
                  <a:cubicBezTo>
                    <a:pt x="405" y="143"/>
                    <a:pt x="419" y="144"/>
                    <a:pt x="428" y="144"/>
                  </a:cubicBezTo>
                  <a:cubicBezTo>
                    <a:pt x="433" y="167"/>
                    <a:pt x="444" y="196"/>
                    <a:pt x="465" y="203"/>
                  </a:cubicBezTo>
                  <a:cubicBezTo>
                    <a:pt x="471" y="206"/>
                    <a:pt x="476" y="210"/>
                    <a:pt x="478" y="216"/>
                  </a:cubicBezTo>
                  <a:cubicBezTo>
                    <a:pt x="514" y="307"/>
                    <a:pt x="574" y="443"/>
                    <a:pt x="595" y="463"/>
                  </a:cubicBezTo>
                  <a:cubicBezTo>
                    <a:pt x="631" y="494"/>
                    <a:pt x="727" y="554"/>
                    <a:pt x="778" y="554"/>
                  </a:cubicBezTo>
                  <a:cubicBezTo>
                    <a:pt x="829" y="554"/>
                    <a:pt x="926" y="494"/>
                    <a:pt x="961" y="463"/>
                  </a:cubicBezTo>
                  <a:cubicBezTo>
                    <a:pt x="983" y="443"/>
                    <a:pt x="1043" y="307"/>
                    <a:pt x="1078" y="216"/>
                  </a:cubicBezTo>
                  <a:cubicBezTo>
                    <a:pt x="1080" y="211"/>
                    <a:pt x="1084" y="207"/>
                    <a:pt x="1089" y="205"/>
                  </a:cubicBezTo>
                  <a:cubicBezTo>
                    <a:pt x="1103" y="197"/>
                    <a:pt x="1112" y="187"/>
                    <a:pt x="1118" y="176"/>
                  </a:cubicBezTo>
                  <a:cubicBezTo>
                    <a:pt x="1137" y="173"/>
                    <a:pt x="1155" y="167"/>
                    <a:pt x="1171" y="159"/>
                  </a:cubicBezTo>
                  <a:close/>
                  <a:moveTo>
                    <a:pt x="1498" y="197"/>
                  </a:moveTo>
                  <a:cubicBezTo>
                    <a:pt x="1504" y="104"/>
                    <a:pt x="1565" y="44"/>
                    <a:pt x="1656" y="44"/>
                  </a:cubicBezTo>
                  <a:cubicBezTo>
                    <a:pt x="1748" y="44"/>
                    <a:pt x="1808" y="104"/>
                    <a:pt x="1814" y="197"/>
                  </a:cubicBezTo>
                  <a:cubicBezTo>
                    <a:pt x="1858" y="197"/>
                    <a:pt x="1858" y="197"/>
                    <a:pt x="1858" y="197"/>
                  </a:cubicBezTo>
                  <a:cubicBezTo>
                    <a:pt x="1855" y="140"/>
                    <a:pt x="1835" y="91"/>
                    <a:pt x="1799" y="55"/>
                  </a:cubicBezTo>
                  <a:cubicBezTo>
                    <a:pt x="1763" y="20"/>
                    <a:pt x="1712" y="0"/>
                    <a:pt x="1656" y="0"/>
                  </a:cubicBezTo>
                  <a:cubicBezTo>
                    <a:pt x="1600" y="0"/>
                    <a:pt x="1549" y="20"/>
                    <a:pt x="1513" y="55"/>
                  </a:cubicBezTo>
                  <a:cubicBezTo>
                    <a:pt x="1477" y="91"/>
                    <a:pt x="1457" y="140"/>
                    <a:pt x="1454" y="197"/>
                  </a:cubicBezTo>
                  <a:lnTo>
                    <a:pt x="1498" y="197"/>
                  </a:lnTo>
                  <a:close/>
                  <a:moveTo>
                    <a:pt x="1276" y="636"/>
                  </a:moveTo>
                  <a:cubicBezTo>
                    <a:pt x="1164" y="612"/>
                    <a:pt x="1039" y="610"/>
                    <a:pt x="1039" y="610"/>
                  </a:cubicBezTo>
                  <a:cubicBezTo>
                    <a:pt x="1039" y="610"/>
                    <a:pt x="899" y="727"/>
                    <a:pt x="791" y="814"/>
                  </a:cubicBezTo>
                  <a:cubicBezTo>
                    <a:pt x="787" y="816"/>
                    <a:pt x="783" y="816"/>
                    <a:pt x="780" y="814"/>
                  </a:cubicBezTo>
                  <a:cubicBezTo>
                    <a:pt x="700" y="750"/>
                    <a:pt x="531" y="610"/>
                    <a:pt x="531" y="610"/>
                  </a:cubicBezTo>
                  <a:cubicBezTo>
                    <a:pt x="531" y="610"/>
                    <a:pt x="312" y="613"/>
                    <a:pt x="194" y="668"/>
                  </a:cubicBezTo>
                  <a:cubicBezTo>
                    <a:pt x="98" y="712"/>
                    <a:pt x="29" y="879"/>
                    <a:pt x="5" y="944"/>
                  </a:cubicBezTo>
                  <a:cubicBezTo>
                    <a:pt x="0" y="956"/>
                    <a:pt x="9" y="969"/>
                    <a:pt x="23" y="969"/>
                  </a:cubicBezTo>
                  <a:cubicBezTo>
                    <a:pt x="1266" y="969"/>
                    <a:pt x="1266" y="969"/>
                    <a:pt x="1266" y="969"/>
                  </a:cubicBezTo>
                  <a:lnTo>
                    <a:pt x="1276" y="636"/>
                  </a:ln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31" name="Group 30"/>
          <p:cNvGrpSpPr>
            <a:grpSpLocks noChangeAspect="1"/>
          </p:cNvGrpSpPr>
          <p:nvPr/>
        </p:nvGrpSpPr>
        <p:grpSpPr>
          <a:xfrm>
            <a:off x="4536551" y="4706388"/>
            <a:ext cx="731520" cy="732198"/>
            <a:chOff x="5273799" y="2606040"/>
            <a:chExt cx="1644396" cy="1645920"/>
          </a:xfrm>
        </p:grpSpPr>
        <p:sp>
          <p:nvSpPr>
            <p:cNvPr id="32" name="AutoShape 8">
              <a:extLst>
                <a:ext uri="{FF2B5EF4-FFF2-40B4-BE49-F238E27FC236}">
                  <a16:creationId xmlns:a16="http://schemas.microsoft.com/office/drawing/2014/main" id="{6CBFDBB9-C441-4D83-B46F-EF3E6F33725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5497065" y="2719578"/>
              <a:ext cx="1197864" cy="1361694"/>
              <a:chOff x="5497065" y="2719578"/>
              <a:chExt cx="1197864" cy="1361694"/>
            </a:xfrm>
          </p:grpSpPr>
          <p:sp>
            <p:nvSpPr>
              <p:cNvPr id="34" name="Freeform 10">
                <a:extLst>
                  <a:ext uri="{FF2B5EF4-FFF2-40B4-BE49-F238E27FC236}">
                    <a16:creationId xmlns:a16="http://schemas.microsoft.com/office/drawing/2014/main" id="{690C1839-07CD-4A5B-A99B-E8EDAA8069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7065" y="3014091"/>
                <a:ext cx="1197864" cy="1067181"/>
              </a:xfrm>
              <a:custGeom>
                <a:avLst/>
                <a:gdLst>
                  <a:gd name="T0" fmla="*/ 1656 w 1678"/>
                  <a:gd name="T1" fmla="*/ 1332 h 1494"/>
                  <a:gd name="T2" fmla="*/ 1568 w 1678"/>
                  <a:gd name="T3" fmla="*/ 1332 h 1494"/>
                  <a:gd name="T4" fmla="*/ 1568 w 1678"/>
                  <a:gd name="T5" fmla="*/ 1288 h 1494"/>
                  <a:gd name="T6" fmla="*/ 1546 w 1678"/>
                  <a:gd name="T7" fmla="*/ 1266 h 1494"/>
                  <a:gd name="T8" fmla="*/ 132 w 1678"/>
                  <a:gd name="T9" fmla="*/ 1266 h 1494"/>
                  <a:gd name="T10" fmla="*/ 110 w 1678"/>
                  <a:gd name="T11" fmla="*/ 1288 h 1494"/>
                  <a:gd name="T12" fmla="*/ 110 w 1678"/>
                  <a:gd name="T13" fmla="*/ 1332 h 1494"/>
                  <a:gd name="T14" fmla="*/ 22 w 1678"/>
                  <a:gd name="T15" fmla="*/ 1332 h 1494"/>
                  <a:gd name="T16" fmla="*/ 0 w 1678"/>
                  <a:gd name="T17" fmla="*/ 1354 h 1494"/>
                  <a:gd name="T18" fmla="*/ 0 w 1678"/>
                  <a:gd name="T19" fmla="*/ 1472 h 1494"/>
                  <a:gd name="T20" fmla="*/ 22 w 1678"/>
                  <a:gd name="T21" fmla="*/ 1494 h 1494"/>
                  <a:gd name="T22" fmla="*/ 1656 w 1678"/>
                  <a:gd name="T23" fmla="*/ 1494 h 1494"/>
                  <a:gd name="T24" fmla="*/ 1678 w 1678"/>
                  <a:gd name="T25" fmla="*/ 1472 h 1494"/>
                  <a:gd name="T26" fmla="*/ 1678 w 1678"/>
                  <a:gd name="T27" fmla="*/ 1354 h 1494"/>
                  <a:gd name="T28" fmla="*/ 1656 w 1678"/>
                  <a:gd name="T29" fmla="*/ 1332 h 1494"/>
                  <a:gd name="T30" fmla="*/ 1645 w 1678"/>
                  <a:gd name="T31" fmla="*/ 375 h 1494"/>
                  <a:gd name="T32" fmla="*/ 1314 w 1678"/>
                  <a:gd name="T33" fmla="*/ 375 h 1494"/>
                  <a:gd name="T34" fmla="*/ 1147 w 1678"/>
                  <a:gd name="T35" fmla="*/ 109 h 1494"/>
                  <a:gd name="T36" fmla="*/ 839 w 1678"/>
                  <a:gd name="T37" fmla="*/ 0 h 1494"/>
                  <a:gd name="T38" fmla="*/ 532 w 1678"/>
                  <a:gd name="T39" fmla="*/ 108 h 1494"/>
                  <a:gd name="T40" fmla="*/ 364 w 1678"/>
                  <a:gd name="T41" fmla="*/ 375 h 1494"/>
                  <a:gd name="T42" fmla="*/ 33 w 1678"/>
                  <a:gd name="T43" fmla="*/ 375 h 1494"/>
                  <a:gd name="T44" fmla="*/ 11 w 1678"/>
                  <a:gd name="T45" fmla="*/ 397 h 1494"/>
                  <a:gd name="T46" fmla="*/ 11 w 1678"/>
                  <a:gd name="T47" fmla="*/ 528 h 1494"/>
                  <a:gd name="T48" fmla="*/ 33 w 1678"/>
                  <a:gd name="T49" fmla="*/ 550 h 1494"/>
                  <a:gd name="T50" fmla="*/ 1645 w 1678"/>
                  <a:gd name="T51" fmla="*/ 550 h 1494"/>
                  <a:gd name="T52" fmla="*/ 1667 w 1678"/>
                  <a:gd name="T53" fmla="*/ 528 h 1494"/>
                  <a:gd name="T54" fmla="*/ 1667 w 1678"/>
                  <a:gd name="T55" fmla="*/ 397 h 1494"/>
                  <a:gd name="T56" fmla="*/ 1645 w 1678"/>
                  <a:gd name="T57" fmla="*/ 375 h 1494"/>
                  <a:gd name="T58" fmla="*/ 839 w 1678"/>
                  <a:gd name="T59" fmla="*/ 44 h 1494"/>
                  <a:gd name="T60" fmla="*/ 1269 w 1678"/>
                  <a:gd name="T61" fmla="*/ 375 h 1494"/>
                  <a:gd name="T62" fmla="*/ 409 w 1678"/>
                  <a:gd name="T63" fmla="*/ 375 h 1494"/>
                  <a:gd name="T64" fmla="*/ 839 w 1678"/>
                  <a:gd name="T65" fmla="*/ 44 h 1494"/>
                  <a:gd name="T66" fmla="*/ 1623 w 1678"/>
                  <a:gd name="T67" fmla="*/ 506 h 1494"/>
                  <a:gd name="T68" fmla="*/ 55 w 1678"/>
                  <a:gd name="T69" fmla="*/ 506 h 1494"/>
                  <a:gd name="T70" fmla="*/ 55 w 1678"/>
                  <a:gd name="T71" fmla="*/ 419 h 1494"/>
                  <a:gd name="T72" fmla="*/ 1623 w 1678"/>
                  <a:gd name="T73" fmla="*/ 419 h 1494"/>
                  <a:gd name="T74" fmla="*/ 1623 w 1678"/>
                  <a:gd name="T75" fmla="*/ 506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8" h="1494">
                    <a:moveTo>
                      <a:pt x="1656" y="1332"/>
                    </a:moveTo>
                    <a:cubicBezTo>
                      <a:pt x="1568" y="1332"/>
                      <a:pt x="1568" y="1332"/>
                      <a:pt x="1568" y="1332"/>
                    </a:cubicBezTo>
                    <a:cubicBezTo>
                      <a:pt x="1568" y="1288"/>
                      <a:pt x="1568" y="1288"/>
                      <a:pt x="1568" y="1288"/>
                    </a:cubicBezTo>
                    <a:cubicBezTo>
                      <a:pt x="1568" y="1276"/>
                      <a:pt x="1558" y="1266"/>
                      <a:pt x="1546" y="1266"/>
                    </a:cubicBezTo>
                    <a:cubicBezTo>
                      <a:pt x="132" y="1266"/>
                      <a:pt x="132" y="1266"/>
                      <a:pt x="132" y="1266"/>
                    </a:cubicBezTo>
                    <a:cubicBezTo>
                      <a:pt x="120" y="1266"/>
                      <a:pt x="110" y="1276"/>
                      <a:pt x="110" y="1288"/>
                    </a:cubicBezTo>
                    <a:cubicBezTo>
                      <a:pt x="110" y="1332"/>
                      <a:pt x="110" y="1332"/>
                      <a:pt x="110" y="1332"/>
                    </a:cubicBezTo>
                    <a:cubicBezTo>
                      <a:pt x="22" y="1332"/>
                      <a:pt x="22" y="1332"/>
                      <a:pt x="22" y="1332"/>
                    </a:cubicBezTo>
                    <a:cubicBezTo>
                      <a:pt x="10" y="1332"/>
                      <a:pt x="0" y="1342"/>
                      <a:pt x="0" y="1354"/>
                    </a:cubicBezTo>
                    <a:cubicBezTo>
                      <a:pt x="0" y="1472"/>
                      <a:pt x="0" y="1472"/>
                      <a:pt x="0" y="1472"/>
                    </a:cubicBezTo>
                    <a:cubicBezTo>
                      <a:pt x="0" y="1484"/>
                      <a:pt x="10" y="1494"/>
                      <a:pt x="22" y="1494"/>
                    </a:cubicBezTo>
                    <a:cubicBezTo>
                      <a:pt x="1656" y="1494"/>
                      <a:pt x="1656" y="1494"/>
                      <a:pt x="1656" y="1494"/>
                    </a:cubicBezTo>
                    <a:cubicBezTo>
                      <a:pt x="1668" y="1494"/>
                      <a:pt x="1678" y="1484"/>
                      <a:pt x="1678" y="1472"/>
                    </a:cubicBezTo>
                    <a:cubicBezTo>
                      <a:pt x="1678" y="1354"/>
                      <a:pt x="1678" y="1354"/>
                      <a:pt x="1678" y="1354"/>
                    </a:cubicBezTo>
                    <a:cubicBezTo>
                      <a:pt x="1678" y="1342"/>
                      <a:pt x="1668" y="1332"/>
                      <a:pt x="1656" y="1332"/>
                    </a:cubicBezTo>
                    <a:close/>
                    <a:moveTo>
                      <a:pt x="1645" y="375"/>
                    </a:moveTo>
                    <a:cubicBezTo>
                      <a:pt x="1314" y="375"/>
                      <a:pt x="1314" y="375"/>
                      <a:pt x="1314" y="375"/>
                    </a:cubicBezTo>
                    <a:cubicBezTo>
                      <a:pt x="1289" y="271"/>
                      <a:pt x="1230" y="177"/>
                      <a:pt x="1147" y="109"/>
                    </a:cubicBezTo>
                    <a:cubicBezTo>
                      <a:pt x="1060" y="38"/>
                      <a:pt x="951" y="0"/>
                      <a:pt x="839" y="0"/>
                    </a:cubicBezTo>
                    <a:cubicBezTo>
                      <a:pt x="728" y="0"/>
                      <a:pt x="619" y="38"/>
                      <a:pt x="532" y="108"/>
                    </a:cubicBezTo>
                    <a:cubicBezTo>
                      <a:pt x="448" y="176"/>
                      <a:pt x="389" y="271"/>
                      <a:pt x="364" y="375"/>
                    </a:cubicBezTo>
                    <a:cubicBezTo>
                      <a:pt x="33" y="375"/>
                      <a:pt x="33" y="375"/>
                      <a:pt x="33" y="375"/>
                    </a:cubicBezTo>
                    <a:cubicBezTo>
                      <a:pt x="21" y="375"/>
                      <a:pt x="11" y="385"/>
                      <a:pt x="11" y="397"/>
                    </a:cubicBezTo>
                    <a:cubicBezTo>
                      <a:pt x="11" y="528"/>
                      <a:pt x="11" y="528"/>
                      <a:pt x="11" y="528"/>
                    </a:cubicBezTo>
                    <a:cubicBezTo>
                      <a:pt x="11" y="540"/>
                      <a:pt x="21" y="550"/>
                      <a:pt x="33" y="550"/>
                    </a:cubicBezTo>
                    <a:cubicBezTo>
                      <a:pt x="1645" y="550"/>
                      <a:pt x="1645" y="550"/>
                      <a:pt x="1645" y="550"/>
                    </a:cubicBezTo>
                    <a:cubicBezTo>
                      <a:pt x="1657" y="550"/>
                      <a:pt x="1667" y="540"/>
                      <a:pt x="1667" y="528"/>
                    </a:cubicBezTo>
                    <a:cubicBezTo>
                      <a:pt x="1667" y="397"/>
                      <a:pt x="1667" y="397"/>
                      <a:pt x="1667" y="397"/>
                    </a:cubicBezTo>
                    <a:cubicBezTo>
                      <a:pt x="1667" y="385"/>
                      <a:pt x="1657" y="375"/>
                      <a:pt x="1645" y="375"/>
                    </a:cubicBezTo>
                    <a:close/>
                    <a:moveTo>
                      <a:pt x="839" y="44"/>
                    </a:moveTo>
                    <a:cubicBezTo>
                      <a:pt x="1040" y="44"/>
                      <a:pt x="1218" y="182"/>
                      <a:pt x="1269" y="375"/>
                    </a:cubicBezTo>
                    <a:cubicBezTo>
                      <a:pt x="409" y="375"/>
                      <a:pt x="409" y="375"/>
                      <a:pt x="409" y="375"/>
                    </a:cubicBezTo>
                    <a:cubicBezTo>
                      <a:pt x="460" y="179"/>
                      <a:pt x="635" y="44"/>
                      <a:pt x="839" y="44"/>
                    </a:cubicBezTo>
                    <a:close/>
                    <a:moveTo>
                      <a:pt x="1623" y="506"/>
                    </a:moveTo>
                    <a:cubicBezTo>
                      <a:pt x="55" y="506"/>
                      <a:pt x="55" y="506"/>
                      <a:pt x="55" y="506"/>
                    </a:cubicBezTo>
                    <a:cubicBezTo>
                      <a:pt x="55" y="419"/>
                      <a:pt x="55" y="419"/>
                      <a:pt x="55" y="419"/>
                    </a:cubicBezTo>
                    <a:cubicBezTo>
                      <a:pt x="1623" y="419"/>
                      <a:pt x="1623" y="419"/>
                      <a:pt x="1623" y="419"/>
                    </a:cubicBezTo>
                    <a:lnTo>
                      <a:pt x="1623" y="506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35" name="Freeform 11">
                <a:extLst>
                  <a:ext uri="{FF2B5EF4-FFF2-40B4-BE49-F238E27FC236}">
                    <a16:creationId xmlns:a16="http://schemas.microsoft.com/office/drawing/2014/main" id="{D28EC961-55AD-42D5-BE87-6917C8C8F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4982" y="2719578"/>
                <a:ext cx="1002030" cy="1155954"/>
              </a:xfrm>
              <a:custGeom>
                <a:avLst/>
                <a:gdLst>
                  <a:gd name="T0" fmla="*/ 12 w 1404"/>
                  <a:gd name="T1" fmla="*/ 1032 h 1618"/>
                  <a:gd name="T2" fmla="*/ 105 w 1404"/>
                  <a:gd name="T3" fmla="*/ 1022 h 1618"/>
                  <a:gd name="T4" fmla="*/ 127 w 1404"/>
                  <a:gd name="T5" fmla="*/ 1608 h 1618"/>
                  <a:gd name="T6" fmla="*/ 10 w 1404"/>
                  <a:gd name="T7" fmla="*/ 1618 h 1618"/>
                  <a:gd name="T8" fmla="*/ 1031 w 1404"/>
                  <a:gd name="T9" fmla="*/ 1618 h 1618"/>
                  <a:gd name="T10" fmla="*/ 1149 w 1404"/>
                  <a:gd name="T11" fmla="*/ 1608 h 1618"/>
                  <a:gd name="T12" fmla="*/ 1127 w 1404"/>
                  <a:gd name="T13" fmla="*/ 1022 h 1618"/>
                  <a:gd name="T14" fmla="*/ 1033 w 1404"/>
                  <a:gd name="T15" fmla="*/ 1032 h 1618"/>
                  <a:gd name="T16" fmla="*/ 1031 w 1404"/>
                  <a:gd name="T17" fmla="*/ 1618 h 1618"/>
                  <a:gd name="T18" fmla="*/ 1394 w 1404"/>
                  <a:gd name="T19" fmla="*/ 1618 h 1618"/>
                  <a:gd name="T20" fmla="*/ 1392 w 1404"/>
                  <a:gd name="T21" fmla="*/ 1032 h 1618"/>
                  <a:gd name="T22" fmla="*/ 1299 w 1404"/>
                  <a:gd name="T23" fmla="*/ 1022 h 1618"/>
                  <a:gd name="T24" fmla="*/ 1277 w 1404"/>
                  <a:gd name="T25" fmla="*/ 1608 h 1618"/>
                  <a:gd name="T26" fmla="*/ 776 w 1404"/>
                  <a:gd name="T27" fmla="*/ 1618 h 1618"/>
                  <a:gd name="T28" fmla="*/ 894 w 1404"/>
                  <a:gd name="T29" fmla="*/ 1608 h 1618"/>
                  <a:gd name="T30" fmla="*/ 871 w 1404"/>
                  <a:gd name="T31" fmla="*/ 1022 h 1618"/>
                  <a:gd name="T32" fmla="*/ 778 w 1404"/>
                  <a:gd name="T33" fmla="*/ 1032 h 1618"/>
                  <a:gd name="T34" fmla="*/ 776 w 1404"/>
                  <a:gd name="T35" fmla="*/ 1618 h 1618"/>
                  <a:gd name="T36" fmla="*/ 628 w 1404"/>
                  <a:gd name="T37" fmla="*/ 1618 h 1618"/>
                  <a:gd name="T38" fmla="*/ 626 w 1404"/>
                  <a:gd name="T39" fmla="*/ 1032 h 1618"/>
                  <a:gd name="T40" fmla="*/ 533 w 1404"/>
                  <a:gd name="T41" fmla="*/ 1022 h 1618"/>
                  <a:gd name="T42" fmla="*/ 510 w 1404"/>
                  <a:gd name="T43" fmla="*/ 1608 h 1618"/>
                  <a:gd name="T44" fmla="*/ 265 w 1404"/>
                  <a:gd name="T45" fmla="*/ 1618 h 1618"/>
                  <a:gd name="T46" fmla="*/ 383 w 1404"/>
                  <a:gd name="T47" fmla="*/ 1608 h 1618"/>
                  <a:gd name="T48" fmla="*/ 361 w 1404"/>
                  <a:gd name="T49" fmla="*/ 1022 h 1618"/>
                  <a:gd name="T50" fmla="*/ 267 w 1404"/>
                  <a:gd name="T51" fmla="*/ 1032 h 1618"/>
                  <a:gd name="T52" fmla="*/ 265 w 1404"/>
                  <a:gd name="T53" fmla="*/ 1618 h 1618"/>
                  <a:gd name="T54" fmla="*/ 702 w 1404"/>
                  <a:gd name="T55" fmla="*/ 368 h 1618"/>
                  <a:gd name="T56" fmla="*/ 727 w 1404"/>
                  <a:gd name="T57" fmla="*/ 200 h 1618"/>
                  <a:gd name="T58" fmla="*/ 1036 w 1404"/>
                  <a:gd name="T59" fmla="*/ 193 h 1618"/>
                  <a:gd name="T60" fmla="*/ 959 w 1404"/>
                  <a:gd name="T61" fmla="*/ 101 h 1618"/>
                  <a:gd name="T62" fmla="*/ 1040 w 1404"/>
                  <a:gd name="T63" fmla="*/ 11 h 1618"/>
                  <a:gd name="T64" fmla="*/ 720 w 1404"/>
                  <a:gd name="T65" fmla="*/ 0 h 1618"/>
                  <a:gd name="T66" fmla="*/ 681 w 1404"/>
                  <a:gd name="T67" fmla="*/ 0 h 1618"/>
                  <a:gd name="T68" fmla="*/ 675 w 1404"/>
                  <a:gd name="T69" fmla="*/ 193 h 1618"/>
                  <a:gd name="T70" fmla="*/ 675 w 1404"/>
                  <a:gd name="T71" fmla="*/ 368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04" h="1618">
                    <a:moveTo>
                      <a:pt x="0" y="1608"/>
                    </a:moveTo>
                    <a:cubicBezTo>
                      <a:pt x="12" y="1032"/>
                      <a:pt x="12" y="1032"/>
                      <a:pt x="12" y="1032"/>
                    </a:cubicBezTo>
                    <a:cubicBezTo>
                      <a:pt x="12" y="1027"/>
                      <a:pt x="16" y="1022"/>
                      <a:pt x="22" y="1022"/>
                    </a:cubicBezTo>
                    <a:cubicBezTo>
                      <a:pt x="105" y="1022"/>
                      <a:pt x="105" y="1022"/>
                      <a:pt x="105" y="1022"/>
                    </a:cubicBezTo>
                    <a:cubicBezTo>
                      <a:pt x="111" y="1022"/>
                      <a:pt x="115" y="1027"/>
                      <a:pt x="115" y="1032"/>
                    </a:cubicBezTo>
                    <a:cubicBezTo>
                      <a:pt x="127" y="1608"/>
                      <a:pt x="127" y="1608"/>
                      <a:pt x="127" y="1608"/>
                    </a:cubicBezTo>
                    <a:cubicBezTo>
                      <a:pt x="127" y="1613"/>
                      <a:pt x="123" y="1618"/>
                      <a:pt x="117" y="1618"/>
                    </a:cubicBezTo>
                    <a:cubicBezTo>
                      <a:pt x="10" y="1618"/>
                      <a:pt x="10" y="1618"/>
                      <a:pt x="10" y="1618"/>
                    </a:cubicBezTo>
                    <a:cubicBezTo>
                      <a:pt x="4" y="1618"/>
                      <a:pt x="0" y="1613"/>
                      <a:pt x="0" y="1608"/>
                    </a:cubicBezTo>
                    <a:close/>
                    <a:moveTo>
                      <a:pt x="1031" y="1618"/>
                    </a:moveTo>
                    <a:cubicBezTo>
                      <a:pt x="1139" y="1618"/>
                      <a:pt x="1139" y="1618"/>
                      <a:pt x="1139" y="1618"/>
                    </a:cubicBezTo>
                    <a:cubicBezTo>
                      <a:pt x="1144" y="1618"/>
                      <a:pt x="1149" y="1613"/>
                      <a:pt x="1149" y="1608"/>
                    </a:cubicBezTo>
                    <a:cubicBezTo>
                      <a:pt x="1137" y="1032"/>
                      <a:pt x="1137" y="1032"/>
                      <a:pt x="1137" y="1032"/>
                    </a:cubicBezTo>
                    <a:cubicBezTo>
                      <a:pt x="1137" y="1027"/>
                      <a:pt x="1132" y="1022"/>
                      <a:pt x="1127" y="1022"/>
                    </a:cubicBezTo>
                    <a:cubicBezTo>
                      <a:pt x="1043" y="1022"/>
                      <a:pt x="1043" y="1022"/>
                      <a:pt x="1043" y="1022"/>
                    </a:cubicBezTo>
                    <a:cubicBezTo>
                      <a:pt x="1038" y="1022"/>
                      <a:pt x="1033" y="1027"/>
                      <a:pt x="1033" y="1032"/>
                    </a:cubicBezTo>
                    <a:cubicBezTo>
                      <a:pt x="1021" y="1608"/>
                      <a:pt x="1021" y="1608"/>
                      <a:pt x="1021" y="1608"/>
                    </a:cubicBezTo>
                    <a:cubicBezTo>
                      <a:pt x="1021" y="1613"/>
                      <a:pt x="1026" y="1618"/>
                      <a:pt x="1031" y="1618"/>
                    </a:cubicBezTo>
                    <a:close/>
                    <a:moveTo>
                      <a:pt x="1287" y="1618"/>
                    </a:moveTo>
                    <a:cubicBezTo>
                      <a:pt x="1394" y="1618"/>
                      <a:pt x="1394" y="1618"/>
                      <a:pt x="1394" y="1618"/>
                    </a:cubicBezTo>
                    <a:cubicBezTo>
                      <a:pt x="1400" y="1618"/>
                      <a:pt x="1404" y="1613"/>
                      <a:pt x="1404" y="1608"/>
                    </a:cubicBezTo>
                    <a:cubicBezTo>
                      <a:pt x="1392" y="1032"/>
                      <a:pt x="1392" y="1032"/>
                      <a:pt x="1392" y="1032"/>
                    </a:cubicBezTo>
                    <a:cubicBezTo>
                      <a:pt x="1392" y="1027"/>
                      <a:pt x="1388" y="1022"/>
                      <a:pt x="1382" y="1022"/>
                    </a:cubicBezTo>
                    <a:cubicBezTo>
                      <a:pt x="1299" y="1022"/>
                      <a:pt x="1299" y="1022"/>
                      <a:pt x="1299" y="1022"/>
                    </a:cubicBezTo>
                    <a:cubicBezTo>
                      <a:pt x="1293" y="1022"/>
                      <a:pt x="1289" y="1027"/>
                      <a:pt x="1289" y="1032"/>
                    </a:cubicBezTo>
                    <a:cubicBezTo>
                      <a:pt x="1277" y="1608"/>
                      <a:pt x="1277" y="1608"/>
                      <a:pt x="1277" y="1608"/>
                    </a:cubicBezTo>
                    <a:cubicBezTo>
                      <a:pt x="1277" y="1613"/>
                      <a:pt x="1281" y="1618"/>
                      <a:pt x="1287" y="1618"/>
                    </a:cubicBezTo>
                    <a:close/>
                    <a:moveTo>
                      <a:pt x="776" y="1618"/>
                    </a:moveTo>
                    <a:cubicBezTo>
                      <a:pt x="883" y="1618"/>
                      <a:pt x="883" y="1618"/>
                      <a:pt x="883" y="1618"/>
                    </a:cubicBezTo>
                    <a:cubicBezTo>
                      <a:pt x="889" y="1618"/>
                      <a:pt x="894" y="1613"/>
                      <a:pt x="894" y="1608"/>
                    </a:cubicBezTo>
                    <a:cubicBezTo>
                      <a:pt x="881" y="1032"/>
                      <a:pt x="881" y="1032"/>
                      <a:pt x="881" y="1032"/>
                    </a:cubicBezTo>
                    <a:cubicBezTo>
                      <a:pt x="881" y="1027"/>
                      <a:pt x="877" y="1022"/>
                      <a:pt x="871" y="1022"/>
                    </a:cubicBezTo>
                    <a:cubicBezTo>
                      <a:pt x="788" y="1022"/>
                      <a:pt x="788" y="1022"/>
                      <a:pt x="788" y="1022"/>
                    </a:cubicBezTo>
                    <a:cubicBezTo>
                      <a:pt x="782" y="1022"/>
                      <a:pt x="778" y="1027"/>
                      <a:pt x="778" y="1032"/>
                    </a:cubicBezTo>
                    <a:cubicBezTo>
                      <a:pt x="766" y="1608"/>
                      <a:pt x="766" y="1608"/>
                      <a:pt x="766" y="1608"/>
                    </a:cubicBezTo>
                    <a:cubicBezTo>
                      <a:pt x="766" y="1613"/>
                      <a:pt x="770" y="1618"/>
                      <a:pt x="776" y="1618"/>
                    </a:cubicBezTo>
                    <a:close/>
                    <a:moveTo>
                      <a:pt x="521" y="1618"/>
                    </a:moveTo>
                    <a:cubicBezTo>
                      <a:pt x="628" y="1618"/>
                      <a:pt x="628" y="1618"/>
                      <a:pt x="628" y="1618"/>
                    </a:cubicBezTo>
                    <a:cubicBezTo>
                      <a:pt x="634" y="1618"/>
                      <a:pt x="638" y="1613"/>
                      <a:pt x="638" y="1608"/>
                    </a:cubicBezTo>
                    <a:cubicBezTo>
                      <a:pt x="626" y="1032"/>
                      <a:pt x="626" y="1032"/>
                      <a:pt x="626" y="1032"/>
                    </a:cubicBezTo>
                    <a:cubicBezTo>
                      <a:pt x="626" y="1027"/>
                      <a:pt x="622" y="1022"/>
                      <a:pt x="616" y="1022"/>
                    </a:cubicBezTo>
                    <a:cubicBezTo>
                      <a:pt x="533" y="1022"/>
                      <a:pt x="533" y="1022"/>
                      <a:pt x="533" y="1022"/>
                    </a:cubicBezTo>
                    <a:cubicBezTo>
                      <a:pt x="527" y="1022"/>
                      <a:pt x="523" y="1027"/>
                      <a:pt x="523" y="1032"/>
                    </a:cubicBezTo>
                    <a:cubicBezTo>
                      <a:pt x="510" y="1608"/>
                      <a:pt x="510" y="1608"/>
                      <a:pt x="510" y="1608"/>
                    </a:cubicBezTo>
                    <a:cubicBezTo>
                      <a:pt x="510" y="1613"/>
                      <a:pt x="515" y="1618"/>
                      <a:pt x="521" y="1618"/>
                    </a:cubicBezTo>
                    <a:close/>
                    <a:moveTo>
                      <a:pt x="265" y="1618"/>
                    </a:moveTo>
                    <a:cubicBezTo>
                      <a:pt x="373" y="1618"/>
                      <a:pt x="373" y="1618"/>
                      <a:pt x="373" y="1618"/>
                    </a:cubicBezTo>
                    <a:cubicBezTo>
                      <a:pt x="378" y="1618"/>
                      <a:pt x="383" y="1613"/>
                      <a:pt x="383" y="1608"/>
                    </a:cubicBezTo>
                    <a:cubicBezTo>
                      <a:pt x="371" y="1032"/>
                      <a:pt x="371" y="1032"/>
                      <a:pt x="371" y="1032"/>
                    </a:cubicBezTo>
                    <a:cubicBezTo>
                      <a:pt x="371" y="1027"/>
                      <a:pt x="366" y="1022"/>
                      <a:pt x="361" y="1022"/>
                    </a:cubicBezTo>
                    <a:cubicBezTo>
                      <a:pt x="277" y="1022"/>
                      <a:pt x="277" y="1022"/>
                      <a:pt x="277" y="1022"/>
                    </a:cubicBezTo>
                    <a:cubicBezTo>
                      <a:pt x="272" y="1022"/>
                      <a:pt x="267" y="1027"/>
                      <a:pt x="267" y="1032"/>
                    </a:cubicBezTo>
                    <a:cubicBezTo>
                      <a:pt x="255" y="1608"/>
                      <a:pt x="255" y="1608"/>
                      <a:pt x="255" y="1608"/>
                    </a:cubicBezTo>
                    <a:cubicBezTo>
                      <a:pt x="255" y="1613"/>
                      <a:pt x="260" y="1618"/>
                      <a:pt x="265" y="1618"/>
                    </a:cubicBezTo>
                    <a:close/>
                    <a:moveTo>
                      <a:pt x="675" y="368"/>
                    </a:moveTo>
                    <a:cubicBezTo>
                      <a:pt x="684" y="368"/>
                      <a:pt x="693" y="368"/>
                      <a:pt x="702" y="368"/>
                    </a:cubicBezTo>
                    <a:cubicBezTo>
                      <a:pt x="710" y="368"/>
                      <a:pt x="718" y="368"/>
                      <a:pt x="727" y="368"/>
                    </a:cubicBezTo>
                    <a:cubicBezTo>
                      <a:pt x="727" y="200"/>
                      <a:pt x="727" y="200"/>
                      <a:pt x="727" y="200"/>
                    </a:cubicBezTo>
                    <a:cubicBezTo>
                      <a:pt x="727" y="196"/>
                      <a:pt x="730" y="193"/>
                      <a:pt x="733" y="193"/>
                    </a:cubicBezTo>
                    <a:cubicBezTo>
                      <a:pt x="1036" y="193"/>
                      <a:pt x="1036" y="193"/>
                      <a:pt x="1036" y="193"/>
                    </a:cubicBezTo>
                    <a:cubicBezTo>
                      <a:pt x="1042" y="193"/>
                      <a:pt x="1044" y="186"/>
                      <a:pt x="1040" y="182"/>
                    </a:cubicBezTo>
                    <a:cubicBezTo>
                      <a:pt x="959" y="101"/>
                      <a:pt x="959" y="101"/>
                      <a:pt x="959" y="101"/>
                    </a:cubicBezTo>
                    <a:cubicBezTo>
                      <a:pt x="957" y="99"/>
                      <a:pt x="957" y="95"/>
                      <a:pt x="959" y="92"/>
                    </a:cubicBezTo>
                    <a:cubicBezTo>
                      <a:pt x="1040" y="11"/>
                      <a:pt x="1040" y="11"/>
                      <a:pt x="1040" y="11"/>
                    </a:cubicBezTo>
                    <a:cubicBezTo>
                      <a:pt x="1044" y="7"/>
                      <a:pt x="1042" y="0"/>
                      <a:pt x="1036" y="0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78" y="0"/>
                      <a:pt x="675" y="3"/>
                      <a:pt x="675" y="7"/>
                    </a:cubicBezTo>
                    <a:cubicBezTo>
                      <a:pt x="675" y="193"/>
                      <a:pt x="675" y="193"/>
                      <a:pt x="675" y="193"/>
                    </a:cubicBezTo>
                    <a:cubicBezTo>
                      <a:pt x="675" y="193"/>
                      <a:pt x="675" y="193"/>
                      <a:pt x="675" y="193"/>
                    </a:cubicBezTo>
                    <a:lnTo>
                      <a:pt x="675" y="368"/>
                    </a:ln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36" name="Group 35"/>
          <p:cNvGrpSpPr>
            <a:grpSpLocks noChangeAspect="1"/>
          </p:cNvGrpSpPr>
          <p:nvPr/>
        </p:nvGrpSpPr>
        <p:grpSpPr>
          <a:xfrm>
            <a:off x="8262680" y="4706388"/>
            <a:ext cx="731520" cy="732198"/>
            <a:chOff x="5273799" y="2606040"/>
            <a:chExt cx="1644396" cy="1645920"/>
          </a:xfrm>
        </p:grpSpPr>
        <p:sp>
          <p:nvSpPr>
            <p:cNvPr id="37" name="AutoShape 13">
              <a:extLst>
                <a:ext uri="{FF2B5EF4-FFF2-40B4-BE49-F238E27FC236}">
                  <a16:creationId xmlns:a16="http://schemas.microsoft.com/office/drawing/2014/main" id="{A6B62B7F-B1B2-4803-95E8-2DB8A96A0D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39" name="Freeform 15">
                <a:extLst>
                  <a:ext uri="{FF2B5EF4-FFF2-40B4-BE49-F238E27FC236}">
                    <a16:creationId xmlns:a16="http://schemas.microsoft.com/office/drawing/2014/main" id="{C49F8F87-804D-4785-B3FF-71E118F98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40" name="Freeform 16">
                <a:extLst>
                  <a:ext uri="{FF2B5EF4-FFF2-40B4-BE49-F238E27FC236}">
                    <a16:creationId xmlns:a16="http://schemas.microsoft.com/office/drawing/2014/main" id="{D5D864F2-D4FC-4684-89BF-B212682AA9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sp>
        <p:nvSpPr>
          <p:cNvPr id="41" name="ee4pHeader1"/>
          <p:cNvSpPr txBox="1"/>
          <p:nvPr/>
        </p:nvSpPr>
        <p:spPr>
          <a:xfrm>
            <a:off x="630000" y="5887258"/>
            <a:ext cx="10936224" cy="27699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bg-BG" b="1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Для каждой товарной группы будет учитываться специфика бизнес-процессов отрасли</a:t>
            </a:r>
          </a:p>
        </p:txBody>
      </p:sp>
    </p:spTree>
    <p:extLst>
      <p:ext uri="{BB962C8B-B14F-4D97-AF65-F5344CB8AC3E}">
        <p14:creationId xmlns:p14="http://schemas.microsoft.com/office/powerpoint/2010/main" val="248577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" name="Object 14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9" name="Object 14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Freeform 64"/>
          <p:cNvSpPr/>
          <p:nvPr/>
        </p:nvSpPr>
        <p:spPr>
          <a:xfrm>
            <a:off x="4023222" y="2430266"/>
            <a:ext cx="2620879" cy="884925"/>
          </a:xfrm>
          <a:custGeom>
            <a:avLst/>
            <a:gdLst>
              <a:gd name="connsiteX0" fmla="*/ 0 w 2451100"/>
              <a:gd name="connsiteY0" fmla="*/ 304800 h 850900"/>
              <a:gd name="connsiteX1" fmla="*/ 965200 w 2451100"/>
              <a:gd name="connsiteY1" fmla="*/ 850900 h 850900"/>
              <a:gd name="connsiteX2" fmla="*/ 2451100 w 2451100"/>
              <a:gd name="connsiteY2" fmla="*/ 0 h 850900"/>
              <a:gd name="connsiteX0" fmla="*/ 0 w 2679700"/>
              <a:gd name="connsiteY0" fmla="*/ 464820 h 1010920"/>
              <a:gd name="connsiteX1" fmla="*/ 965200 w 2679700"/>
              <a:gd name="connsiteY1" fmla="*/ 1010920 h 1010920"/>
              <a:gd name="connsiteX2" fmla="*/ 2679700 w 2679700"/>
              <a:gd name="connsiteY2" fmla="*/ 0 h 101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79700" h="1010920">
                <a:moveTo>
                  <a:pt x="0" y="464820"/>
                </a:moveTo>
                <a:lnTo>
                  <a:pt x="965200" y="1010920"/>
                </a:lnTo>
                <a:lnTo>
                  <a:pt x="2679700" y="0"/>
                </a:lnTo>
              </a:path>
            </a:pathLst>
          </a:custGeom>
          <a:noFill/>
          <a:ln w="9525" cap="rnd" cmpd="sng" algn="ctr">
            <a:solidFill>
              <a:srgbClr val="686F6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 dirty="0"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/>
              <a:t>Общая схема работы системы маркировки и прослеживаемост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134438" y="5612442"/>
            <a:ext cx="192734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В магазине сканируют код товара и размещают его на полк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386657" y="5612442"/>
            <a:ext cx="192734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Товар продали на кассе в системе “код вышел из оборота”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882219" y="5612442"/>
            <a:ext cx="192734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Весь путь товара фиксируется на каждом этапе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0000" y="5612442"/>
            <a:ext cx="1927347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Производитель наносит цифровой код на товар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638877" y="5612442"/>
            <a:ext cx="1927347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Вся правда о товаре в мобильном приложении</a:t>
            </a:r>
          </a:p>
        </p:txBody>
      </p:sp>
      <p:grpSp>
        <p:nvGrpSpPr>
          <p:cNvPr id="153" name="Group 152"/>
          <p:cNvGrpSpPr/>
          <p:nvPr/>
        </p:nvGrpSpPr>
        <p:grpSpPr>
          <a:xfrm>
            <a:off x="3282067" y="4369318"/>
            <a:ext cx="1127654" cy="1127656"/>
            <a:chOff x="3174113" y="4234235"/>
            <a:chExt cx="1127654" cy="1127656"/>
          </a:xfrm>
        </p:grpSpPr>
        <p:sp>
          <p:nvSpPr>
            <p:cNvPr id="7" name="Oval 6"/>
            <p:cNvSpPr/>
            <p:nvPr/>
          </p:nvSpPr>
          <p:spPr>
            <a:xfrm>
              <a:off x="317411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3" name="bcgIcons_LargeTruck">
              <a:extLst>
                <a:ext uri="{FF2B5EF4-FFF2-40B4-BE49-F238E27FC236}">
                  <a16:creationId xmlns:a16="http://schemas.microsoft.com/office/drawing/2014/main" id="{BF4B8ACE-C65D-4D32-8A49-32EA8B16FE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326840" y="4386583"/>
              <a:ext cx="822200" cy="822960"/>
              <a:chOff x="1682" y="0"/>
              <a:chExt cx="4316" cy="4320"/>
            </a:xfrm>
          </p:grpSpPr>
          <p:sp>
            <p:nvSpPr>
              <p:cNvPr id="14" name="AutoShape 19">
                <a:extLst>
                  <a:ext uri="{FF2B5EF4-FFF2-40B4-BE49-F238E27FC236}">
                    <a16:creationId xmlns:a16="http://schemas.microsoft.com/office/drawing/2014/main" id="{87A709C4-C460-42AC-8D6F-850C534249C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5" name="Freeform 21">
                <a:extLst>
                  <a:ext uri="{FF2B5EF4-FFF2-40B4-BE49-F238E27FC236}">
                    <a16:creationId xmlns:a16="http://schemas.microsoft.com/office/drawing/2014/main" id="{5B97506B-F2E5-432C-AC70-CC2D99DA3B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62" y="1588"/>
                <a:ext cx="3562" cy="1601"/>
              </a:xfrm>
              <a:custGeom>
                <a:avLst/>
                <a:gdLst>
                  <a:gd name="T0" fmla="*/ 1902 w 1902"/>
                  <a:gd name="T1" fmla="*/ 325 h 854"/>
                  <a:gd name="T2" fmla="*/ 1902 w 1902"/>
                  <a:gd name="T3" fmla="*/ 645 h 854"/>
                  <a:gd name="T4" fmla="*/ 1879 w 1902"/>
                  <a:gd name="T5" fmla="*/ 667 h 854"/>
                  <a:gd name="T6" fmla="*/ 1741 w 1902"/>
                  <a:gd name="T7" fmla="*/ 667 h 854"/>
                  <a:gd name="T8" fmla="*/ 1723 w 1902"/>
                  <a:gd name="T9" fmla="*/ 623 h 854"/>
                  <a:gd name="T10" fmla="*/ 1858 w 1902"/>
                  <a:gd name="T11" fmla="*/ 623 h 854"/>
                  <a:gd name="T12" fmla="*/ 1858 w 1902"/>
                  <a:gd name="T13" fmla="*/ 338 h 854"/>
                  <a:gd name="T14" fmla="*/ 1664 w 1902"/>
                  <a:gd name="T15" fmla="*/ 44 h 854"/>
                  <a:gd name="T16" fmla="*/ 1325 w 1902"/>
                  <a:gd name="T17" fmla="*/ 44 h 854"/>
                  <a:gd name="T18" fmla="*/ 1325 w 1902"/>
                  <a:gd name="T19" fmla="*/ 623 h 854"/>
                  <a:gd name="T20" fmla="*/ 1405 w 1902"/>
                  <a:gd name="T21" fmla="*/ 623 h 854"/>
                  <a:gd name="T22" fmla="*/ 1387 w 1902"/>
                  <a:gd name="T23" fmla="*/ 667 h 854"/>
                  <a:gd name="T24" fmla="*/ 1303 w 1902"/>
                  <a:gd name="T25" fmla="*/ 667 h 854"/>
                  <a:gd name="T26" fmla="*/ 1281 w 1902"/>
                  <a:gd name="T27" fmla="*/ 645 h 854"/>
                  <a:gd name="T28" fmla="*/ 1281 w 1902"/>
                  <a:gd name="T29" fmla="*/ 21 h 854"/>
                  <a:gd name="T30" fmla="*/ 1303 w 1902"/>
                  <a:gd name="T31" fmla="*/ 0 h 854"/>
                  <a:gd name="T32" fmla="*/ 1688 w 1902"/>
                  <a:gd name="T33" fmla="*/ 0 h 854"/>
                  <a:gd name="T34" fmla="*/ 1902 w 1902"/>
                  <a:gd name="T35" fmla="*/ 325 h 854"/>
                  <a:gd name="T36" fmla="*/ 1705 w 1902"/>
                  <a:gd name="T37" fmla="*/ 713 h 854"/>
                  <a:gd name="T38" fmla="*/ 1564 w 1902"/>
                  <a:gd name="T39" fmla="*/ 572 h 854"/>
                  <a:gd name="T40" fmla="*/ 1423 w 1902"/>
                  <a:gd name="T41" fmla="*/ 713 h 854"/>
                  <a:gd name="T42" fmla="*/ 1569 w 1902"/>
                  <a:gd name="T43" fmla="*/ 854 h 854"/>
                  <a:gd name="T44" fmla="*/ 1705 w 1902"/>
                  <a:gd name="T45" fmla="*/ 713 h 854"/>
                  <a:gd name="T46" fmla="*/ 1657 w 1902"/>
                  <a:gd name="T47" fmla="*/ 713 h 854"/>
                  <a:gd name="T48" fmla="*/ 1564 w 1902"/>
                  <a:gd name="T49" fmla="*/ 806 h 854"/>
                  <a:gd name="T50" fmla="*/ 1472 w 1902"/>
                  <a:gd name="T51" fmla="*/ 713 h 854"/>
                  <a:gd name="T52" fmla="*/ 1564 w 1902"/>
                  <a:gd name="T53" fmla="*/ 620 h 854"/>
                  <a:gd name="T54" fmla="*/ 1657 w 1902"/>
                  <a:gd name="T55" fmla="*/ 713 h 854"/>
                  <a:gd name="T56" fmla="*/ 403 w 1902"/>
                  <a:gd name="T57" fmla="*/ 713 h 854"/>
                  <a:gd name="T58" fmla="*/ 262 w 1902"/>
                  <a:gd name="T59" fmla="*/ 572 h 854"/>
                  <a:gd name="T60" fmla="*/ 121 w 1902"/>
                  <a:gd name="T61" fmla="*/ 713 h 854"/>
                  <a:gd name="T62" fmla="*/ 267 w 1902"/>
                  <a:gd name="T63" fmla="*/ 854 h 854"/>
                  <a:gd name="T64" fmla="*/ 403 w 1902"/>
                  <a:gd name="T65" fmla="*/ 713 h 854"/>
                  <a:gd name="T66" fmla="*/ 354 w 1902"/>
                  <a:gd name="T67" fmla="*/ 713 h 854"/>
                  <a:gd name="T68" fmla="*/ 262 w 1902"/>
                  <a:gd name="T69" fmla="*/ 806 h 854"/>
                  <a:gd name="T70" fmla="*/ 169 w 1902"/>
                  <a:gd name="T71" fmla="*/ 713 h 854"/>
                  <a:gd name="T72" fmla="*/ 262 w 1902"/>
                  <a:gd name="T73" fmla="*/ 620 h 854"/>
                  <a:gd name="T74" fmla="*/ 354 w 1902"/>
                  <a:gd name="T75" fmla="*/ 713 h 854"/>
                  <a:gd name="T76" fmla="*/ 1227 w 1902"/>
                  <a:gd name="T77" fmla="*/ 468 h 854"/>
                  <a:gd name="T78" fmla="*/ 21 w 1902"/>
                  <a:gd name="T79" fmla="*/ 468 h 854"/>
                  <a:gd name="T80" fmla="*/ 0 w 1902"/>
                  <a:gd name="T81" fmla="*/ 489 h 854"/>
                  <a:gd name="T82" fmla="*/ 0 w 1902"/>
                  <a:gd name="T83" fmla="*/ 646 h 854"/>
                  <a:gd name="T84" fmla="*/ 21 w 1902"/>
                  <a:gd name="T85" fmla="*/ 667 h 854"/>
                  <a:gd name="T86" fmla="*/ 83 w 1902"/>
                  <a:gd name="T87" fmla="*/ 667 h 854"/>
                  <a:gd name="T88" fmla="*/ 262 w 1902"/>
                  <a:gd name="T89" fmla="*/ 528 h 854"/>
                  <a:gd name="T90" fmla="*/ 441 w 1902"/>
                  <a:gd name="T91" fmla="*/ 667 h 854"/>
                  <a:gd name="T92" fmla="*/ 1227 w 1902"/>
                  <a:gd name="T93" fmla="*/ 667 h 854"/>
                  <a:gd name="T94" fmla="*/ 1231 w 1902"/>
                  <a:gd name="T95" fmla="*/ 667 h 854"/>
                  <a:gd name="T96" fmla="*/ 1231 w 1902"/>
                  <a:gd name="T97" fmla="*/ 468 h 854"/>
                  <a:gd name="T98" fmla="*/ 1227 w 1902"/>
                  <a:gd name="T99" fmla="*/ 468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02" h="854">
                    <a:moveTo>
                      <a:pt x="1902" y="325"/>
                    </a:moveTo>
                    <a:cubicBezTo>
                      <a:pt x="1902" y="645"/>
                      <a:pt x="1902" y="645"/>
                      <a:pt x="1902" y="645"/>
                    </a:cubicBezTo>
                    <a:cubicBezTo>
                      <a:pt x="1902" y="657"/>
                      <a:pt x="1892" y="667"/>
                      <a:pt x="1879" y="667"/>
                    </a:cubicBezTo>
                    <a:cubicBezTo>
                      <a:pt x="1741" y="667"/>
                      <a:pt x="1741" y="667"/>
                      <a:pt x="1741" y="667"/>
                    </a:cubicBezTo>
                    <a:cubicBezTo>
                      <a:pt x="1737" y="651"/>
                      <a:pt x="1731" y="637"/>
                      <a:pt x="1723" y="623"/>
                    </a:cubicBezTo>
                    <a:cubicBezTo>
                      <a:pt x="1858" y="623"/>
                      <a:pt x="1858" y="623"/>
                      <a:pt x="1858" y="623"/>
                    </a:cubicBezTo>
                    <a:cubicBezTo>
                      <a:pt x="1858" y="338"/>
                      <a:pt x="1858" y="338"/>
                      <a:pt x="1858" y="338"/>
                    </a:cubicBezTo>
                    <a:cubicBezTo>
                      <a:pt x="1664" y="44"/>
                      <a:pt x="1664" y="44"/>
                      <a:pt x="1664" y="44"/>
                    </a:cubicBezTo>
                    <a:cubicBezTo>
                      <a:pt x="1325" y="44"/>
                      <a:pt x="1325" y="44"/>
                      <a:pt x="1325" y="44"/>
                    </a:cubicBezTo>
                    <a:cubicBezTo>
                      <a:pt x="1325" y="623"/>
                      <a:pt x="1325" y="623"/>
                      <a:pt x="1325" y="623"/>
                    </a:cubicBezTo>
                    <a:cubicBezTo>
                      <a:pt x="1405" y="623"/>
                      <a:pt x="1405" y="623"/>
                      <a:pt x="1405" y="623"/>
                    </a:cubicBezTo>
                    <a:cubicBezTo>
                      <a:pt x="1398" y="637"/>
                      <a:pt x="1391" y="651"/>
                      <a:pt x="1387" y="667"/>
                    </a:cubicBezTo>
                    <a:cubicBezTo>
                      <a:pt x="1303" y="667"/>
                      <a:pt x="1303" y="667"/>
                      <a:pt x="1303" y="667"/>
                    </a:cubicBezTo>
                    <a:cubicBezTo>
                      <a:pt x="1291" y="667"/>
                      <a:pt x="1281" y="657"/>
                      <a:pt x="1281" y="645"/>
                    </a:cubicBezTo>
                    <a:cubicBezTo>
                      <a:pt x="1281" y="21"/>
                      <a:pt x="1281" y="21"/>
                      <a:pt x="1281" y="21"/>
                    </a:cubicBezTo>
                    <a:cubicBezTo>
                      <a:pt x="1281" y="9"/>
                      <a:pt x="1291" y="0"/>
                      <a:pt x="1303" y="0"/>
                    </a:cubicBezTo>
                    <a:cubicBezTo>
                      <a:pt x="1688" y="0"/>
                      <a:pt x="1688" y="0"/>
                      <a:pt x="1688" y="0"/>
                    </a:cubicBezTo>
                    <a:lnTo>
                      <a:pt x="1902" y="325"/>
                    </a:lnTo>
                    <a:close/>
                    <a:moveTo>
                      <a:pt x="1705" y="713"/>
                    </a:moveTo>
                    <a:cubicBezTo>
                      <a:pt x="1705" y="635"/>
                      <a:pt x="1642" y="572"/>
                      <a:pt x="1564" y="572"/>
                    </a:cubicBezTo>
                    <a:cubicBezTo>
                      <a:pt x="1486" y="572"/>
                      <a:pt x="1423" y="635"/>
                      <a:pt x="1423" y="713"/>
                    </a:cubicBezTo>
                    <a:cubicBezTo>
                      <a:pt x="1423" y="791"/>
                      <a:pt x="1491" y="854"/>
                      <a:pt x="1569" y="854"/>
                    </a:cubicBezTo>
                    <a:cubicBezTo>
                      <a:pt x="1647" y="854"/>
                      <a:pt x="1705" y="791"/>
                      <a:pt x="1705" y="713"/>
                    </a:cubicBezTo>
                    <a:close/>
                    <a:moveTo>
                      <a:pt x="1657" y="713"/>
                    </a:moveTo>
                    <a:cubicBezTo>
                      <a:pt x="1657" y="764"/>
                      <a:pt x="1615" y="806"/>
                      <a:pt x="1564" y="806"/>
                    </a:cubicBezTo>
                    <a:cubicBezTo>
                      <a:pt x="1513" y="806"/>
                      <a:pt x="1472" y="764"/>
                      <a:pt x="1472" y="713"/>
                    </a:cubicBezTo>
                    <a:cubicBezTo>
                      <a:pt x="1472" y="662"/>
                      <a:pt x="1513" y="620"/>
                      <a:pt x="1564" y="620"/>
                    </a:cubicBezTo>
                    <a:cubicBezTo>
                      <a:pt x="1615" y="620"/>
                      <a:pt x="1657" y="662"/>
                      <a:pt x="1657" y="713"/>
                    </a:cubicBezTo>
                    <a:close/>
                    <a:moveTo>
                      <a:pt x="403" y="713"/>
                    </a:moveTo>
                    <a:cubicBezTo>
                      <a:pt x="403" y="635"/>
                      <a:pt x="340" y="572"/>
                      <a:pt x="262" y="572"/>
                    </a:cubicBezTo>
                    <a:cubicBezTo>
                      <a:pt x="184" y="572"/>
                      <a:pt x="121" y="635"/>
                      <a:pt x="121" y="713"/>
                    </a:cubicBezTo>
                    <a:cubicBezTo>
                      <a:pt x="121" y="791"/>
                      <a:pt x="189" y="854"/>
                      <a:pt x="267" y="854"/>
                    </a:cubicBezTo>
                    <a:cubicBezTo>
                      <a:pt x="344" y="854"/>
                      <a:pt x="403" y="791"/>
                      <a:pt x="403" y="713"/>
                    </a:cubicBezTo>
                    <a:close/>
                    <a:moveTo>
                      <a:pt x="354" y="713"/>
                    </a:moveTo>
                    <a:cubicBezTo>
                      <a:pt x="354" y="764"/>
                      <a:pt x="313" y="806"/>
                      <a:pt x="262" y="806"/>
                    </a:cubicBezTo>
                    <a:cubicBezTo>
                      <a:pt x="211" y="806"/>
                      <a:pt x="169" y="764"/>
                      <a:pt x="169" y="713"/>
                    </a:cubicBezTo>
                    <a:cubicBezTo>
                      <a:pt x="169" y="662"/>
                      <a:pt x="211" y="620"/>
                      <a:pt x="262" y="620"/>
                    </a:cubicBezTo>
                    <a:cubicBezTo>
                      <a:pt x="313" y="620"/>
                      <a:pt x="354" y="662"/>
                      <a:pt x="354" y="713"/>
                    </a:cubicBezTo>
                    <a:close/>
                    <a:moveTo>
                      <a:pt x="1227" y="468"/>
                    </a:moveTo>
                    <a:cubicBezTo>
                      <a:pt x="21" y="468"/>
                      <a:pt x="21" y="468"/>
                      <a:pt x="21" y="468"/>
                    </a:cubicBezTo>
                    <a:cubicBezTo>
                      <a:pt x="9" y="468"/>
                      <a:pt x="0" y="477"/>
                      <a:pt x="0" y="489"/>
                    </a:cubicBezTo>
                    <a:cubicBezTo>
                      <a:pt x="0" y="646"/>
                      <a:pt x="0" y="646"/>
                      <a:pt x="0" y="646"/>
                    </a:cubicBezTo>
                    <a:cubicBezTo>
                      <a:pt x="0" y="658"/>
                      <a:pt x="9" y="667"/>
                      <a:pt x="21" y="667"/>
                    </a:cubicBezTo>
                    <a:cubicBezTo>
                      <a:pt x="83" y="667"/>
                      <a:pt x="83" y="667"/>
                      <a:pt x="83" y="667"/>
                    </a:cubicBezTo>
                    <a:cubicBezTo>
                      <a:pt x="103" y="587"/>
                      <a:pt x="176" y="528"/>
                      <a:pt x="262" y="528"/>
                    </a:cubicBezTo>
                    <a:cubicBezTo>
                      <a:pt x="348" y="528"/>
                      <a:pt x="421" y="587"/>
                      <a:pt x="441" y="667"/>
                    </a:cubicBezTo>
                    <a:cubicBezTo>
                      <a:pt x="1227" y="667"/>
                      <a:pt x="1227" y="667"/>
                      <a:pt x="1227" y="667"/>
                    </a:cubicBezTo>
                    <a:cubicBezTo>
                      <a:pt x="1228" y="667"/>
                      <a:pt x="1230" y="667"/>
                      <a:pt x="1231" y="667"/>
                    </a:cubicBezTo>
                    <a:cubicBezTo>
                      <a:pt x="1231" y="468"/>
                      <a:pt x="1231" y="468"/>
                      <a:pt x="1231" y="468"/>
                    </a:cubicBezTo>
                    <a:cubicBezTo>
                      <a:pt x="1230" y="468"/>
                      <a:pt x="1228" y="468"/>
                      <a:pt x="1227" y="468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6" name="Freeform 22">
                <a:extLst>
                  <a:ext uri="{FF2B5EF4-FFF2-40B4-BE49-F238E27FC236}">
                    <a16:creationId xmlns:a16="http://schemas.microsoft.com/office/drawing/2014/main" id="{B0559BF6-D87B-4C20-B897-47FA7C324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63" y="1144"/>
                <a:ext cx="3501" cy="1878"/>
              </a:xfrm>
              <a:custGeom>
                <a:avLst/>
                <a:gdLst>
                  <a:gd name="T0" fmla="*/ 1851 w 1869"/>
                  <a:gd name="T1" fmla="*/ 535 h 1002"/>
                  <a:gd name="T2" fmla="*/ 1534 w 1869"/>
                  <a:gd name="T3" fmla="*/ 535 h 1002"/>
                  <a:gd name="T4" fmla="*/ 1524 w 1869"/>
                  <a:gd name="T5" fmla="*/ 526 h 1002"/>
                  <a:gd name="T6" fmla="*/ 1524 w 1869"/>
                  <a:gd name="T7" fmla="*/ 319 h 1002"/>
                  <a:gd name="T8" fmla="*/ 1534 w 1869"/>
                  <a:gd name="T9" fmla="*/ 310 h 1002"/>
                  <a:gd name="T10" fmla="*/ 1737 w 1869"/>
                  <a:gd name="T11" fmla="*/ 310 h 1002"/>
                  <a:gd name="T12" fmla="*/ 1757 w 1869"/>
                  <a:gd name="T13" fmla="*/ 328 h 1002"/>
                  <a:gd name="T14" fmla="*/ 1868 w 1869"/>
                  <a:gd name="T15" fmla="*/ 516 h 1002"/>
                  <a:gd name="T16" fmla="*/ 1869 w 1869"/>
                  <a:gd name="T17" fmla="*/ 521 h 1002"/>
                  <a:gd name="T18" fmla="*/ 1851 w 1869"/>
                  <a:gd name="T19" fmla="*/ 535 h 1002"/>
                  <a:gd name="T20" fmla="*/ 368 w 1869"/>
                  <a:gd name="T21" fmla="*/ 898 h 1002"/>
                  <a:gd name="T22" fmla="*/ 316 w 1869"/>
                  <a:gd name="T23" fmla="*/ 950 h 1002"/>
                  <a:gd name="T24" fmla="*/ 368 w 1869"/>
                  <a:gd name="T25" fmla="*/ 1002 h 1002"/>
                  <a:gd name="T26" fmla="*/ 420 w 1869"/>
                  <a:gd name="T27" fmla="*/ 950 h 1002"/>
                  <a:gd name="T28" fmla="*/ 368 w 1869"/>
                  <a:gd name="T29" fmla="*/ 898 h 1002"/>
                  <a:gd name="T30" fmla="*/ 1670 w 1869"/>
                  <a:gd name="T31" fmla="*/ 898 h 1002"/>
                  <a:gd name="T32" fmla="*/ 1618 w 1869"/>
                  <a:gd name="T33" fmla="*/ 950 h 1002"/>
                  <a:gd name="T34" fmla="*/ 1670 w 1869"/>
                  <a:gd name="T35" fmla="*/ 1002 h 1002"/>
                  <a:gd name="T36" fmla="*/ 1722 w 1869"/>
                  <a:gd name="T37" fmla="*/ 950 h 1002"/>
                  <a:gd name="T38" fmla="*/ 1670 w 1869"/>
                  <a:gd name="T39" fmla="*/ 898 h 1002"/>
                  <a:gd name="T40" fmla="*/ 1340 w 1869"/>
                  <a:gd name="T41" fmla="*/ 22 h 1002"/>
                  <a:gd name="T42" fmla="*/ 1318 w 1869"/>
                  <a:gd name="T43" fmla="*/ 0 h 1002"/>
                  <a:gd name="T44" fmla="*/ 22 w 1869"/>
                  <a:gd name="T45" fmla="*/ 0 h 1002"/>
                  <a:gd name="T46" fmla="*/ 0 w 1869"/>
                  <a:gd name="T47" fmla="*/ 22 h 1002"/>
                  <a:gd name="T48" fmla="*/ 0 w 1869"/>
                  <a:gd name="T49" fmla="*/ 639 h 1002"/>
                  <a:gd name="T50" fmla="*/ 22 w 1869"/>
                  <a:gd name="T51" fmla="*/ 661 h 1002"/>
                  <a:gd name="T52" fmla="*/ 1340 w 1869"/>
                  <a:gd name="T53" fmla="*/ 661 h 1002"/>
                  <a:gd name="T54" fmla="*/ 1340 w 1869"/>
                  <a:gd name="T55" fmla="*/ 22 h 10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69" h="1002">
                    <a:moveTo>
                      <a:pt x="1851" y="535"/>
                    </a:moveTo>
                    <a:cubicBezTo>
                      <a:pt x="1534" y="535"/>
                      <a:pt x="1534" y="535"/>
                      <a:pt x="1534" y="535"/>
                    </a:cubicBezTo>
                    <a:cubicBezTo>
                      <a:pt x="1529" y="535"/>
                      <a:pt x="1524" y="531"/>
                      <a:pt x="1524" y="526"/>
                    </a:cubicBezTo>
                    <a:cubicBezTo>
                      <a:pt x="1524" y="319"/>
                      <a:pt x="1524" y="319"/>
                      <a:pt x="1524" y="319"/>
                    </a:cubicBezTo>
                    <a:cubicBezTo>
                      <a:pt x="1524" y="314"/>
                      <a:pt x="1529" y="310"/>
                      <a:pt x="1534" y="310"/>
                    </a:cubicBezTo>
                    <a:cubicBezTo>
                      <a:pt x="1737" y="310"/>
                      <a:pt x="1737" y="310"/>
                      <a:pt x="1737" y="310"/>
                    </a:cubicBezTo>
                    <a:cubicBezTo>
                      <a:pt x="1747" y="310"/>
                      <a:pt x="1751" y="318"/>
                      <a:pt x="1757" y="328"/>
                    </a:cubicBezTo>
                    <a:cubicBezTo>
                      <a:pt x="1868" y="516"/>
                      <a:pt x="1868" y="516"/>
                      <a:pt x="1868" y="516"/>
                    </a:cubicBezTo>
                    <a:cubicBezTo>
                      <a:pt x="1869" y="517"/>
                      <a:pt x="1869" y="519"/>
                      <a:pt x="1869" y="521"/>
                    </a:cubicBezTo>
                    <a:cubicBezTo>
                      <a:pt x="1867" y="529"/>
                      <a:pt x="1860" y="535"/>
                      <a:pt x="1851" y="535"/>
                    </a:cubicBezTo>
                    <a:close/>
                    <a:moveTo>
                      <a:pt x="368" y="898"/>
                    </a:moveTo>
                    <a:cubicBezTo>
                      <a:pt x="339" y="898"/>
                      <a:pt x="316" y="921"/>
                      <a:pt x="316" y="950"/>
                    </a:cubicBezTo>
                    <a:cubicBezTo>
                      <a:pt x="316" y="979"/>
                      <a:pt x="339" y="1002"/>
                      <a:pt x="368" y="1002"/>
                    </a:cubicBezTo>
                    <a:cubicBezTo>
                      <a:pt x="397" y="1002"/>
                      <a:pt x="420" y="979"/>
                      <a:pt x="420" y="950"/>
                    </a:cubicBezTo>
                    <a:cubicBezTo>
                      <a:pt x="420" y="921"/>
                      <a:pt x="397" y="898"/>
                      <a:pt x="368" y="898"/>
                    </a:cubicBezTo>
                    <a:close/>
                    <a:moveTo>
                      <a:pt x="1670" y="898"/>
                    </a:moveTo>
                    <a:cubicBezTo>
                      <a:pt x="1641" y="898"/>
                      <a:pt x="1618" y="921"/>
                      <a:pt x="1618" y="950"/>
                    </a:cubicBezTo>
                    <a:cubicBezTo>
                      <a:pt x="1618" y="979"/>
                      <a:pt x="1641" y="1002"/>
                      <a:pt x="1670" y="1002"/>
                    </a:cubicBezTo>
                    <a:cubicBezTo>
                      <a:pt x="1699" y="1002"/>
                      <a:pt x="1722" y="979"/>
                      <a:pt x="1722" y="950"/>
                    </a:cubicBezTo>
                    <a:cubicBezTo>
                      <a:pt x="1722" y="921"/>
                      <a:pt x="1699" y="898"/>
                      <a:pt x="1670" y="898"/>
                    </a:cubicBezTo>
                    <a:close/>
                    <a:moveTo>
                      <a:pt x="1340" y="22"/>
                    </a:moveTo>
                    <a:cubicBezTo>
                      <a:pt x="1340" y="10"/>
                      <a:pt x="1330" y="0"/>
                      <a:pt x="1318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639"/>
                      <a:pt x="0" y="639"/>
                      <a:pt x="0" y="639"/>
                    </a:cubicBezTo>
                    <a:cubicBezTo>
                      <a:pt x="0" y="651"/>
                      <a:pt x="10" y="661"/>
                      <a:pt x="22" y="661"/>
                    </a:cubicBezTo>
                    <a:cubicBezTo>
                      <a:pt x="1340" y="661"/>
                      <a:pt x="1340" y="661"/>
                      <a:pt x="1340" y="661"/>
                    </a:cubicBezTo>
                    <a:lnTo>
                      <a:pt x="1340" y="22"/>
                    </a:ln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54" name="Group 153"/>
          <p:cNvGrpSpPr/>
          <p:nvPr/>
        </p:nvGrpSpPr>
        <p:grpSpPr>
          <a:xfrm>
            <a:off x="1029847" y="4369318"/>
            <a:ext cx="1127654" cy="1127656"/>
            <a:chOff x="1029847" y="4234235"/>
            <a:chExt cx="1127654" cy="1127656"/>
          </a:xfrm>
        </p:grpSpPr>
        <p:sp>
          <p:nvSpPr>
            <p:cNvPr id="9" name="Oval 8"/>
            <p:cNvSpPr/>
            <p:nvPr/>
          </p:nvSpPr>
          <p:spPr>
            <a:xfrm>
              <a:off x="1029847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7" name="Group 16"/>
            <p:cNvGrpSpPr>
              <a:grpSpLocks noChangeAspect="1"/>
            </p:cNvGrpSpPr>
            <p:nvPr/>
          </p:nvGrpSpPr>
          <p:grpSpPr>
            <a:xfrm>
              <a:off x="1182574" y="4386583"/>
              <a:ext cx="822200" cy="822960"/>
              <a:chOff x="5273799" y="2606040"/>
              <a:chExt cx="1644396" cy="1645920"/>
            </a:xfrm>
          </p:grpSpPr>
          <p:sp>
            <p:nvSpPr>
              <p:cNvPr id="18" name="AutoShape 13">
                <a:extLst>
                  <a:ext uri="{FF2B5EF4-FFF2-40B4-BE49-F238E27FC236}">
                    <a16:creationId xmlns:a16="http://schemas.microsoft.com/office/drawing/2014/main" id="{A6B62B7F-B1B2-4803-95E8-2DB8A96A0D9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5407149" y="2775204"/>
                <a:ext cx="1379220" cy="1306068"/>
                <a:chOff x="5407149" y="2775204"/>
                <a:chExt cx="1379220" cy="1306068"/>
              </a:xfrm>
            </p:grpSpPr>
            <p:sp>
              <p:nvSpPr>
                <p:cNvPr id="20" name="Freeform 15">
                  <a:extLst>
                    <a:ext uri="{FF2B5EF4-FFF2-40B4-BE49-F238E27FC236}">
                      <a16:creationId xmlns:a16="http://schemas.microsoft.com/office/drawing/2014/main" id="{C49F8F87-804D-4785-B3FF-71E118F988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02983" y="3357372"/>
                  <a:ext cx="987552" cy="308229"/>
                </a:xfrm>
                <a:custGeom>
                  <a:avLst/>
                  <a:gdLst>
                    <a:gd name="T0" fmla="*/ 10 w 1384"/>
                    <a:gd name="T1" fmla="*/ 183 h 431"/>
                    <a:gd name="T2" fmla="*/ 0 w 1384"/>
                    <a:gd name="T3" fmla="*/ 10 h 431"/>
                    <a:gd name="T4" fmla="*/ 292 w 1384"/>
                    <a:gd name="T5" fmla="*/ 0 h 431"/>
                    <a:gd name="T6" fmla="*/ 302 w 1384"/>
                    <a:gd name="T7" fmla="*/ 173 h 431"/>
                    <a:gd name="T8" fmla="*/ 662 w 1384"/>
                    <a:gd name="T9" fmla="*/ 173 h 431"/>
                    <a:gd name="T10" fmla="*/ 652 w 1384"/>
                    <a:gd name="T11" fmla="*/ 0 h 431"/>
                    <a:gd name="T12" fmla="*/ 361 w 1384"/>
                    <a:gd name="T13" fmla="*/ 10 h 431"/>
                    <a:gd name="T14" fmla="*/ 371 w 1384"/>
                    <a:gd name="T15" fmla="*/ 183 h 431"/>
                    <a:gd name="T16" fmla="*/ 662 w 1384"/>
                    <a:gd name="T17" fmla="*/ 173 h 431"/>
                    <a:gd name="T18" fmla="*/ 1023 w 1384"/>
                    <a:gd name="T19" fmla="*/ 10 h 431"/>
                    <a:gd name="T20" fmla="*/ 732 w 1384"/>
                    <a:gd name="T21" fmla="*/ 0 h 431"/>
                    <a:gd name="T22" fmla="*/ 722 w 1384"/>
                    <a:gd name="T23" fmla="*/ 173 h 431"/>
                    <a:gd name="T24" fmla="*/ 1013 w 1384"/>
                    <a:gd name="T25" fmla="*/ 183 h 431"/>
                    <a:gd name="T26" fmla="*/ 1384 w 1384"/>
                    <a:gd name="T27" fmla="*/ 173 h 431"/>
                    <a:gd name="T28" fmla="*/ 1374 w 1384"/>
                    <a:gd name="T29" fmla="*/ 0 h 431"/>
                    <a:gd name="T30" fmla="*/ 1082 w 1384"/>
                    <a:gd name="T31" fmla="*/ 10 h 431"/>
                    <a:gd name="T32" fmla="*/ 1092 w 1384"/>
                    <a:gd name="T33" fmla="*/ 183 h 431"/>
                    <a:gd name="T34" fmla="*/ 1384 w 1384"/>
                    <a:gd name="T35" fmla="*/ 173 h 431"/>
                    <a:gd name="T36" fmla="*/ 302 w 1384"/>
                    <a:gd name="T37" fmla="*/ 258 h 431"/>
                    <a:gd name="T38" fmla="*/ 10 w 1384"/>
                    <a:gd name="T39" fmla="*/ 248 h 431"/>
                    <a:gd name="T40" fmla="*/ 0 w 1384"/>
                    <a:gd name="T41" fmla="*/ 421 h 431"/>
                    <a:gd name="T42" fmla="*/ 292 w 1384"/>
                    <a:gd name="T43" fmla="*/ 431 h 431"/>
                    <a:gd name="T44" fmla="*/ 662 w 1384"/>
                    <a:gd name="T45" fmla="*/ 421 h 431"/>
                    <a:gd name="T46" fmla="*/ 652 w 1384"/>
                    <a:gd name="T47" fmla="*/ 248 h 431"/>
                    <a:gd name="T48" fmla="*/ 361 w 1384"/>
                    <a:gd name="T49" fmla="*/ 258 h 431"/>
                    <a:gd name="T50" fmla="*/ 371 w 1384"/>
                    <a:gd name="T51" fmla="*/ 431 h 431"/>
                    <a:gd name="T52" fmla="*/ 662 w 1384"/>
                    <a:gd name="T53" fmla="*/ 421 h 431"/>
                    <a:gd name="T54" fmla="*/ 1023 w 1384"/>
                    <a:gd name="T55" fmla="*/ 258 h 431"/>
                    <a:gd name="T56" fmla="*/ 732 w 1384"/>
                    <a:gd name="T57" fmla="*/ 248 h 431"/>
                    <a:gd name="T58" fmla="*/ 722 w 1384"/>
                    <a:gd name="T59" fmla="*/ 421 h 431"/>
                    <a:gd name="T60" fmla="*/ 1013 w 1384"/>
                    <a:gd name="T61" fmla="*/ 431 h 431"/>
                    <a:gd name="T62" fmla="*/ 1384 w 1384"/>
                    <a:gd name="T63" fmla="*/ 421 h 431"/>
                    <a:gd name="T64" fmla="*/ 1374 w 1384"/>
                    <a:gd name="T65" fmla="*/ 248 h 431"/>
                    <a:gd name="T66" fmla="*/ 1082 w 1384"/>
                    <a:gd name="T67" fmla="*/ 258 h 431"/>
                    <a:gd name="T68" fmla="*/ 1092 w 1384"/>
                    <a:gd name="T69" fmla="*/ 431 h 431"/>
                    <a:gd name="T70" fmla="*/ 1384 w 1384"/>
                    <a:gd name="T71" fmla="*/ 421 h 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84" h="431">
                      <a:moveTo>
                        <a:pt x="292" y="183"/>
                      </a:moveTo>
                      <a:cubicBezTo>
                        <a:pt x="10" y="183"/>
                        <a:pt x="10" y="183"/>
                        <a:pt x="10" y="183"/>
                      </a:cubicBezTo>
                      <a:cubicBezTo>
                        <a:pt x="4" y="183"/>
                        <a:pt x="0" y="179"/>
                        <a:pt x="0" y="173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5"/>
                        <a:pt x="4" y="0"/>
                        <a:pt x="10" y="0"/>
                      </a:cubicBezTo>
                      <a:cubicBezTo>
                        <a:pt x="292" y="0"/>
                        <a:pt x="292" y="0"/>
                        <a:pt x="292" y="0"/>
                      </a:cubicBezTo>
                      <a:cubicBezTo>
                        <a:pt x="297" y="0"/>
                        <a:pt x="302" y="5"/>
                        <a:pt x="302" y="10"/>
                      </a:cubicBezTo>
                      <a:cubicBezTo>
                        <a:pt x="302" y="173"/>
                        <a:pt x="302" y="173"/>
                        <a:pt x="302" y="173"/>
                      </a:cubicBezTo>
                      <a:cubicBezTo>
                        <a:pt x="302" y="179"/>
                        <a:pt x="297" y="183"/>
                        <a:pt x="292" y="183"/>
                      </a:cubicBezTo>
                      <a:close/>
                      <a:moveTo>
                        <a:pt x="662" y="173"/>
                      </a:moveTo>
                      <a:cubicBezTo>
                        <a:pt x="662" y="10"/>
                        <a:pt x="662" y="10"/>
                        <a:pt x="662" y="10"/>
                      </a:cubicBezTo>
                      <a:cubicBezTo>
                        <a:pt x="662" y="5"/>
                        <a:pt x="658" y="0"/>
                        <a:pt x="652" y="0"/>
                      </a:cubicBezTo>
                      <a:cubicBezTo>
                        <a:pt x="371" y="0"/>
                        <a:pt x="371" y="0"/>
                        <a:pt x="371" y="0"/>
                      </a:cubicBezTo>
                      <a:cubicBezTo>
                        <a:pt x="365" y="0"/>
                        <a:pt x="361" y="5"/>
                        <a:pt x="361" y="10"/>
                      </a:cubicBezTo>
                      <a:cubicBezTo>
                        <a:pt x="361" y="173"/>
                        <a:pt x="361" y="173"/>
                        <a:pt x="361" y="173"/>
                      </a:cubicBezTo>
                      <a:cubicBezTo>
                        <a:pt x="361" y="179"/>
                        <a:pt x="365" y="183"/>
                        <a:pt x="371" y="183"/>
                      </a:cubicBezTo>
                      <a:cubicBezTo>
                        <a:pt x="652" y="183"/>
                        <a:pt x="652" y="183"/>
                        <a:pt x="652" y="183"/>
                      </a:cubicBezTo>
                      <a:cubicBezTo>
                        <a:pt x="658" y="183"/>
                        <a:pt x="662" y="179"/>
                        <a:pt x="662" y="173"/>
                      </a:cubicBezTo>
                      <a:close/>
                      <a:moveTo>
                        <a:pt x="1023" y="173"/>
                      </a:moveTo>
                      <a:cubicBezTo>
                        <a:pt x="1023" y="10"/>
                        <a:pt x="1023" y="10"/>
                        <a:pt x="1023" y="10"/>
                      </a:cubicBezTo>
                      <a:cubicBezTo>
                        <a:pt x="1023" y="5"/>
                        <a:pt x="1019" y="0"/>
                        <a:pt x="1013" y="0"/>
                      </a:cubicBezTo>
                      <a:cubicBezTo>
                        <a:pt x="732" y="0"/>
                        <a:pt x="732" y="0"/>
                        <a:pt x="732" y="0"/>
                      </a:cubicBezTo>
                      <a:cubicBezTo>
                        <a:pt x="726" y="0"/>
                        <a:pt x="722" y="5"/>
                        <a:pt x="722" y="10"/>
                      </a:cubicBezTo>
                      <a:cubicBezTo>
                        <a:pt x="722" y="173"/>
                        <a:pt x="722" y="173"/>
                        <a:pt x="722" y="173"/>
                      </a:cubicBezTo>
                      <a:cubicBezTo>
                        <a:pt x="722" y="179"/>
                        <a:pt x="726" y="183"/>
                        <a:pt x="732" y="183"/>
                      </a:cubicBezTo>
                      <a:cubicBezTo>
                        <a:pt x="1013" y="183"/>
                        <a:pt x="1013" y="183"/>
                        <a:pt x="1013" y="183"/>
                      </a:cubicBezTo>
                      <a:cubicBezTo>
                        <a:pt x="1019" y="183"/>
                        <a:pt x="1023" y="179"/>
                        <a:pt x="1023" y="173"/>
                      </a:cubicBezTo>
                      <a:close/>
                      <a:moveTo>
                        <a:pt x="1384" y="173"/>
                      </a:moveTo>
                      <a:cubicBezTo>
                        <a:pt x="1384" y="10"/>
                        <a:pt x="1384" y="10"/>
                        <a:pt x="1384" y="10"/>
                      </a:cubicBezTo>
                      <a:cubicBezTo>
                        <a:pt x="1384" y="5"/>
                        <a:pt x="1380" y="0"/>
                        <a:pt x="1374" y="0"/>
                      </a:cubicBezTo>
                      <a:cubicBezTo>
                        <a:pt x="1092" y="0"/>
                        <a:pt x="1092" y="0"/>
                        <a:pt x="1092" y="0"/>
                      </a:cubicBezTo>
                      <a:cubicBezTo>
                        <a:pt x="1087" y="0"/>
                        <a:pt x="1082" y="5"/>
                        <a:pt x="1082" y="10"/>
                      </a:cubicBezTo>
                      <a:cubicBezTo>
                        <a:pt x="1082" y="173"/>
                        <a:pt x="1082" y="173"/>
                        <a:pt x="1082" y="173"/>
                      </a:cubicBezTo>
                      <a:cubicBezTo>
                        <a:pt x="1082" y="179"/>
                        <a:pt x="1087" y="183"/>
                        <a:pt x="1092" y="183"/>
                      </a:cubicBezTo>
                      <a:cubicBezTo>
                        <a:pt x="1374" y="183"/>
                        <a:pt x="1374" y="183"/>
                        <a:pt x="1374" y="183"/>
                      </a:cubicBezTo>
                      <a:cubicBezTo>
                        <a:pt x="1380" y="183"/>
                        <a:pt x="1384" y="179"/>
                        <a:pt x="1384" y="173"/>
                      </a:cubicBezTo>
                      <a:close/>
                      <a:moveTo>
                        <a:pt x="302" y="421"/>
                      </a:moveTo>
                      <a:cubicBezTo>
                        <a:pt x="302" y="258"/>
                        <a:pt x="302" y="258"/>
                        <a:pt x="302" y="258"/>
                      </a:cubicBezTo>
                      <a:cubicBezTo>
                        <a:pt x="302" y="253"/>
                        <a:pt x="297" y="248"/>
                        <a:pt x="292" y="248"/>
                      </a:cubicBezTo>
                      <a:cubicBezTo>
                        <a:pt x="10" y="248"/>
                        <a:pt x="10" y="248"/>
                        <a:pt x="10" y="248"/>
                      </a:cubicBezTo>
                      <a:cubicBezTo>
                        <a:pt x="4" y="248"/>
                        <a:pt x="0" y="253"/>
                        <a:pt x="0" y="258"/>
                      </a:cubicBezTo>
                      <a:cubicBezTo>
                        <a:pt x="0" y="421"/>
                        <a:pt x="0" y="421"/>
                        <a:pt x="0" y="421"/>
                      </a:cubicBezTo>
                      <a:cubicBezTo>
                        <a:pt x="0" y="427"/>
                        <a:pt x="4" y="431"/>
                        <a:pt x="10" y="431"/>
                      </a:cubicBezTo>
                      <a:cubicBezTo>
                        <a:pt x="292" y="431"/>
                        <a:pt x="292" y="431"/>
                        <a:pt x="292" y="431"/>
                      </a:cubicBezTo>
                      <a:cubicBezTo>
                        <a:pt x="297" y="431"/>
                        <a:pt x="302" y="427"/>
                        <a:pt x="302" y="421"/>
                      </a:cubicBezTo>
                      <a:close/>
                      <a:moveTo>
                        <a:pt x="662" y="421"/>
                      </a:moveTo>
                      <a:cubicBezTo>
                        <a:pt x="662" y="258"/>
                        <a:pt x="662" y="258"/>
                        <a:pt x="662" y="258"/>
                      </a:cubicBezTo>
                      <a:cubicBezTo>
                        <a:pt x="662" y="253"/>
                        <a:pt x="658" y="248"/>
                        <a:pt x="65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5" y="248"/>
                        <a:pt x="361" y="253"/>
                        <a:pt x="361" y="258"/>
                      </a:cubicBezTo>
                      <a:cubicBezTo>
                        <a:pt x="361" y="421"/>
                        <a:pt x="361" y="421"/>
                        <a:pt x="361" y="421"/>
                      </a:cubicBezTo>
                      <a:cubicBezTo>
                        <a:pt x="361" y="427"/>
                        <a:pt x="365" y="431"/>
                        <a:pt x="371" y="431"/>
                      </a:cubicBezTo>
                      <a:cubicBezTo>
                        <a:pt x="652" y="431"/>
                        <a:pt x="652" y="431"/>
                        <a:pt x="652" y="431"/>
                      </a:cubicBezTo>
                      <a:cubicBezTo>
                        <a:pt x="658" y="431"/>
                        <a:pt x="662" y="427"/>
                        <a:pt x="662" y="421"/>
                      </a:cubicBezTo>
                      <a:close/>
                      <a:moveTo>
                        <a:pt x="1023" y="421"/>
                      </a:moveTo>
                      <a:cubicBezTo>
                        <a:pt x="1023" y="258"/>
                        <a:pt x="1023" y="258"/>
                        <a:pt x="1023" y="258"/>
                      </a:cubicBezTo>
                      <a:cubicBezTo>
                        <a:pt x="1023" y="253"/>
                        <a:pt x="1019" y="248"/>
                        <a:pt x="1013" y="248"/>
                      </a:cubicBezTo>
                      <a:cubicBezTo>
                        <a:pt x="732" y="248"/>
                        <a:pt x="732" y="248"/>
                        <a:pt x="732" y="248"/>
                      </a:cubicBezTo>
                      <a:cubicBezTo>
                        <a:pt x="726" y="248"/>
                        <a:pt x="722" y="253"/>
                        <a:pt x="722" y="258"/>
                      </a:cubicBezTo>
                      <a:cubicBezTo>
                        <a:pt x="722" y="421"/>
                        <a:pt x="722" y="421"/>
                        <a:pt x="722" y="421"/>
                      </a:cubicBezTo>
                      <a:cubicBezTo>
                        <a:pt x="722" y="427"/>
                        <a:pt x="726" y="431"/>
                        <a:pt x="732" y="431"/>
                      </a:cubicBezTo>
                      <a:cubicBezTo>
                        <a:pt x="1013" y="431"/>
                        <a:pt x="1013" y="431"/>
                        <a:pt x="1013" y="431"/>
                      </a:cubicBezTo>
                      <a:cubicBezTo>
                        <a:pt x="1019" y="431"/>
                        <a:pt x="1023" y="427"/>
                        <a:pt x="1023" y="421"/>
                      </a:cubicBezTo>
                      <a:close/>
                      <a:moveTo>
                        <a:pt x="1384" y="421"/>
                      </a:moveTo>
                      <a:cubicBezTo>
                        <a:pt x="1384" y="258"/>
                        <a:pt x="1384" y="258"/>
                        <a:pt x="1384" y="258"/>
                      </a:cubicBezTo>
                      <a:cubicBezTo>
                        <a:pt x="1384" y="253"/>
                        <a:pt x="1380" y="248"/>
                        <a:pt x="1374" y="248"/>
                      </a:cubicBezTo>
                      <a:cubicBezTo>
                        <a:pt x="1092" y="248"/>
                        <a:pt x="1092" y="248"/>
                        <a:pt x="1092" y="248"/>
                      </a:cubicBezTo>
                      <a:cubicBezTo>
                        <a:pt x="1087" y="248"/>
                        <a:pt x="1082" y="253"/>
                        <a:pt x="1082" y="258"/>
                      </a:cubicBezTo>
                      <a:cubicBezTo>
                        <a:pt x="1082" y="421"/>
                        <a:pt x="1082" y="421"/>
                        <a:pt x="1082" y="421"/>
                      </a:cubicBezTo>
                      <a:cubicBezTo>
                        <a:pt x="1082" y="427"/>
                        <a:pt x="1087" y="431"/>
                        <a:pt x="1092" y="431"/>
                      </a:cubicBezTo>
                      <a:cubicBezTo>
                        <a:pt x="1374" y="431"/>
                        <a:pt x="1374" y="431"/>
                        <a:pt x="1374" y="431"/>
                      </a:cubicBezTo>
                      <a:cubicBezTo>
                        <a:pt x="1380" y="431"/>
                        <a:pt x="1384" y="427"/>
                        <a:pt x="1384" y="421"/>
                      </a:cubicBezTo>
                      <a:close/>
                    </a:path>
                  </a:pathLst>
                </a:custGeom>
                <a:solidFill>
                  <a:srgbClr val="98A6CC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  <p:sp>
              <p:nvSpPr>
                <p:cNvPr id="21" name="Freeform 16">
                  <a:extLst>
                    <a:ext uri="{FF2B5EF4-FFF2-40B4-BE49-F238E27FC236}">
                      <a16:creationId xmlns:a16="http://schemas.microsoft.com/office/drawing/2014/main" id="{D5D864F2-D4FC-4684-89BF-B212682AA9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07149" y="2775204"/>
                  <a:ext cx="1379220" cy="1306068"/>
                </a:xfrm>
                <a:custGeom>
                  <a:avLst/>
                  <a:gdLst>
                    <a:gd name="T0" fmla="*/ 1687 w 1932"/>
                    <a:gd name="T1" fmla="*/ 15 h 1828"/>
                    <a:gd name="T2" fmla="*/ 1735 w 1932"/>
                    <a:gd name="T3" fmla="*/ 587 h 1828"/>
                    <a:gd name="T4" fmla="*/ 1719 w 1932"/>
                    <a:gd name="T5" fmla="*/ 604 h 1828"/>
                    <a:gd name="T6" fmla="*/ 1417 w 1932"/>
                    <a:gd name="T7" fmla="*/ 604 h 1828"/>
                    <a:gd name="T8" fmla="*/ 1401 w 1932"/>
                    <a:gd name="T9" fmla="*/ 587 h 1828"/>
                    <a:gd name="T10" fmla="*/ 1449 w 1932"/>
                    <a:gd name="T11" fmla="*/ 15 h 1828"/>
                    <a:gd name="T12" fmla="*/ 1465 w 1932"/>
                    <a:gd name="T13" fmla="*/ 0 h 1828"/>
                    <a:gd name="T14" fmla="*/ 1671 w 1932"/>
                    <a:gd name="T15" fmla="*/ 0 h 1828"/>
                    <a:gd name="T16" fmla="*/ 1687 w 1932"/>
                    <a:gd name="T17" fmla="*/ 15 h 1828"/>
                    <a:gd name="T18" fmla="*/ 1932 w 1932"/>
                    <a:gd name="T19" fmla="*/ 1706 h 1828"/>
                    <a:gd name="T20" fmla="*/ 1932 w 1932"/>
                    <a:gd name="T21" fmla="*/ 1806 h 1828"/>
                    <a:gd name="T22" fmla="*/ 1910 w 1932"/>
                    <a:gd name="T23" fmla="*/ 1828 h 1828"/>
                    <a:gd name="T24" fmla="*/ 22 w 1932"/>
                    <a:gd name="T25" fmla="*/ 1828 h 1828"/>
                    <a:gd name="T26" fmla="*/ 0 w 1932"/>
                    <a:gd name="T27" fmla="*/ 1806 h 1828"/>
                    <a:gd name="T28" fmla="*/ 0 w 1932"/>
                    <a:gd name="T29" fmla="*/ 1706 h 1828"/>
                    <a:gd name="T30" fmla="*/ 22 w 1932"/>
                    <a:gd name="T31" fmla="*/ 1684 h 1828"/>
                    <a:gd name="T32" fmla="*/ 98 w 1932"/>
                    <a:gd name="T33" fmla="*/ 1684 h 1828"/>
                    <a:gd name="T34" fmla="*/ 98 w 1932"/>
                    <a:gd name="T35" fmla="*/ 1647 h 1828"/>
                    <a:gd name="T36" fmla="*/ 120 w 1932"/>
                    <a:gd name="T37" fmla="*/ 1625 h 1828"/>
                    <a:gd name="T38" fmla="*/ 1812 w 1932"/>
                    <a:gd name="T39" fmla="*/ 1625 h 1828"/>
                    <a:gd name="T40" fmla="*/ 1834 w 1932"/>
                    <a:gd name="T41" fmla="*/ 1647 h 1828"/>
                    <a:gd name="T42" fmla="*/ 1834 w 1932"/>
                    <a:gd name="T43" fmla="*/ 1684 h 1828"/>
                    <a:gd name="T44" fmla="*/ 1910 w 1932"/>
                    <a:gd name="T45" fmla="*/ 1684 h 1828"/>
                    <a:gd name="T46" fmla="*/ 1932 w 1932"/>
                    <a:gd name="T47" fmla="*/ 1706 h 1828"/>
                    <a:gd name="T48" fmla="*/ 1812 w 1932"/>
                    <a:gd name="T49" fmla="*/ 670 h 1828"/>
                    <a:gd name="T50" fmla="*/ 1790 w 1932"/>
                    <a:gd name="T51" fmla="*/ 648 h 1828"/>
                    <a:gd name="T52" fmla="*/ 1286 w 1932"/>
                    <a:gd name="T53" fmla="*/ 648 h 1828"/>
                    <a:gd name="T54" fmla="*/ 713 w 1932"/>
                    <a:gd name="T55" fmla="*/ 459 h 1828"/>
                    <a:gd name="T56" fmla="*/ 693 w 1932"/>
                    <a:gd name="T57" fmla="*/ 462 h 1828"/>
                    <a:gd name="T58" fmla="*/ 684 w 1932"/>
                    <a:gd name="T59" fmla="*/ 480 h 1828"/>
                    <a:gd name="T60" fmla="*/ 684 w 1932"/>
                    <a:gd name="T61" fmla="*/ 638 h 1828"/>
                    <a:gd name="T62" fmla="*/ 147 w 1932"/>
                    <a:gd name="T63" fmla="*/ 459 h 1828"/>
                    <a:gd name="T64" fmla="*/ 127 w 1932"/>
                    <a:gd name="T65" fmla="*/ 462 h 1828"/>
                    <a:gd name="T66" fmla="*/ 118 w 1932"/>
                    <a:gd name="T67" fmla="*/ 480 h 1828"/>
                    <a:gd name="T68" fmla="*/ 118 w 1932"/>
                    <a:gd name="T69" fmla="*/ 1581 h 1828"/>
                    <a:gd name="T70" fmla="*/ 162 w 1932"/>
                    <a:gd name="T71" fmla="*/ 1581 h 1828"/>
                    <a:gd name="T72" fmla="*/ 162 w 1932"/>
                    <a:gd name="T73" fmla="*/ 510 h 1828"/>
                    <a:gd name="T74" fmla="*/ 699 w 1932"/>
                    <a:gd name="T75" fmla="*/ 689 h 1828"/>
                    <a:gd name="T76" fmla="*/ 719 w 1932"/>
                    <a:gd name="T77" fmla="*/ 686 h 1828"/>
                    <a:gd name="T78" fmla="*/ 728 w 1932"/>
                    <a:gd name="T79" fmla="*/ 668 h 1828"/>
                    <a:gd name="T80" fmla="*/ 728 w 1932"/>
                    <a:gd name="T81" fmla="*/ 510 h 1828"/>
                    <a:gd name="T82" fmla="*/ 1275 w 1932"/>
                    <a:gd name="T83" fmla="*/ 691 h 1828"/>
                    <a:gd name="T84" fmla="*/ 1282 w 1932"/>
                    <a:gd name="T85" fmla="*/ 692 h 1828"/>
                    <a:gd name="T86" fmla="*/ 1768 w 1932"/>
                    <a:gd name="T87" fmla="*/ 692 h 1828"/>
                    <a:gd name="T88" fmla="*/ 1768 w 1932"/>
                    <a:gd name="T89" fmla="*/ 1581 h 1828"/>
                    <a:gd name="T90" fmla="*/ 1812 w 1932"/>
                    <a:gd name="T91" fmla="*/ 1581 h 1828"/>
                    <a:gd name="T92" fmla="*/ 1812 w 1932"/>
                    <a:gd name="T93" fmla="*/ 670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32" h="1828">
                      <a:moveTo>
                        <a:pt x="1687" y="15"/>
                      </a:moveTo>
                      <a:cubicBezTo>
                        <a:pt x="1735" y="587"/>
                        <a:pt x="1735" y="587"/>
                        <a:pt x="1735" y="587"/>
                      </a:cubicBezTo>
                      <a:cubicBezTo>
                        <a:pt x="1736" y="596"/>
                        <a:pt x="1728" y="604"/>
                        <a:pt x="1719" y="604"/>
                      </a:cubicBezTo>
                      <a:cubicBezTo>
                        <a:pt x="1417" y="604"/>
                        <a:pt x="1417" y="604"/>
                        <a:pt x="1417" y="604"/>
                      </a:cubicBezTo>
                      <a:cubicBezTo>
                        <a:pt x="1407" y="604"/>
                        <a:pt x="1400" y="596"/>
                        <a:pt x="1401" y="587"/>
                      </a:cubicBezTo>
                      <a:cubicBezTo>
                        <a:pt x="1449" y="15"/>
                        <a:pt x="1449" y="15"/>
                        <a:pt x="1449" y="15"/>
                      </a:cubicBezTo>
                      <a:cubicBezTo>
                        <a:pt x="1450" y="6"/>
                        <a:pt x="1457" y="0"/>
                        <a:pt x="1465" y="0"/>
                      </a:cubicBezTo>
                      <a:cubicBezTo>
                        <a:pt x="1671" y="0"/>
                        <a:pt x="1671" y="0"/>
                        <a:pt x="1671" y="0"/>
                      </a:cubicBezTo>
                      <a:cubicBezTo>
                        <a:pt x="1679" y="0"/>
                        <a:pt x="1686" y="6"/>
                        <a:pt x="1687" y="15"/>
                      </a:cubicBezTo>
                      <a:close/>
                      <a:moveTo>
                        <a:pt x="1932" y="1706"/>
                      </a:moveTo>
                      <a:cubicBezTo>
                        <a:pt x="1932" y="1806"/>
                        <a:pt x="1932" y="1806"/>
                        <a:pt x="1932" y="1806"/>
                      </a:cubicBezTo>
                      <a:cubicBezTo>
                        <a:pt x="1932" y="1818"/>
                        <a:pt x="1923" y="1828"/>
                        <a:pt x="1910" y="1828"/>
                      </a:cubicBezTo>
                      <a:cubicBezTo>
                        <a:pt x="22" y="1828"/>
                        <a:pt x="22" y="1828"/>
                        <a:pt x="22" y="1828"/>
                      </a:cubicBezTo>
                      <a:cubicBezTo>
                        <a:pt x="9" y="1828"/>
                        <a:pt x="0" y="1818"/>
                        <a:pt x="0" y="1806"/>
                      </a:cubicBezTo>
                      <a:cubicBezTo>
                        <a:pt x="0" y="1706"/>
                        <a:pt x="0" y="1706"/>
                        <a:pt x="0" y="1706"/>
                      </a:cubicBezTo>
                      <a:cubicBezTo>
                        <a:pt x="0" y="1694"/>
                        <a:pt x="9" y="1684"/>
                        <a:pt x="22" y="1684"/>
                      </a:cubicBezTo>
                      <a:cubicBezTo>
                        <a:pt x="98" y="1684"/>
                        <a:pt x="98" y="1684"/>
                        <a:pt x="98" y="1684"/>
                      </a:cubicBezTo>
                      <a:cubicBezTo>
                        <a:pt x="98" y="1647"/>
                        <a:pt x="98" y="1647"/>
                        <a:pt x="98" y="1647"/>
                      </a:cubicBezTo>
                      <a:cubicBezTo>
                        <a:pt x="98" y="1635"/>
                        <a:pt x="108" y="1625"/>
                        <a:pt x="120" y="1625"/>
                      </a:cubicBezTo>
                      <a:cubicBezTo>
                        <a:pt x="1812" y="1625"/>
                        <a:pt x="1812" y="1625"/>
                        <a:pt x="1812" y="1625"/>
                      </a:cubicBezTo>
                      <a:cubicBezTo>
                        <a:pt x="1824" y="1625"/>
                        <a:pt x="1834" y="1635"/>
                        <a:pt x="1834" y="1647"/>
                      </a:cubicBezTo>
                      <a:cubicBezTo>
                        <a:pt x="1834" y="1684"/>
                        <a:pt x="1834" y="1684"/>
                        <a:pt x="1834" y="1684"/>
                      </a:cubicBezTo>
                      <a:cubicBezTo>
                        <a:pt x="1910" y="1684"/>
                        <a:pt x="1910" y="1684"/>
                        <a:pt x="1910" y="1684"/>
                      </a:cubicBezTo>
                      <a:cubicBezTo>
                        <a:pt x="1923" y="1684"/>
                        <a:pt x="1932" y="1694"/>
                        <a:pt x="1932" y="1706"/>
                      </a:cubicBezTo>
                      <a:close/>
                      <a:moveTo>
                        <a:pt x="1812" y="670"/>
                      </a:moveTo>
                      <a:cubicBezTo>
                        <a:pt x="1812" y="658"/>
                        <a:pt x="1802" y="648"/>
                        <a:pt x="1790" y="648"/>
                      </a:cubicBezTo>
                      <a:cubicBezTo>
                        <a:pt x="1286" y="648"/>
                        <a:pt x="1286" y="648"/>
                        <a:pt x="1286" y="648"/>
                      </a:cubicBezTo>
                      <a:cubicBezTo>
                        <a:pt x="713" y="459"/>
                        <a:pt x="713" y="459"/>
                        <a:pt x="713" y="459"/>
                      </a:cubicBezTo>
                      <a:cubicBezTo>
                        <a:pt x="706" y="457"/>
                        <a:pt x="699" y="458"/>
                        <a:pt x="693" y="462"/>
                      </a:cubicBezTo>
                      <a:cubicBezTo>
                        <a:pt x="687" y="466"/>
                        <a:pt x="684" y="473"/>
                        <a:pt x="684" y="480"/>
                      </a:cubicBezTo>
                      <a:cubicBezTo>
                        <a:pt x="684" y="638"/>
                        <a:pt x="684" y="638"/>
                        <a:pt x="684" y="638"/>
                      </a:cubicBezTo>
                      <a:cubicBezTo>
                        <a:pt x="147" y="459"/>
                        <a:pt x="147" y="459"/>
                        <a:pt x="147" y="459"/>
                      </a:cubicBezTo>
                      <a:cubicBezTo>
                        <a:pt x="140" y="457"/>
                        <a:pt x="133" y="458"/>
                        <a:pt x="127" y="462"/>
                      </a:cubicBezTo>
                      <a:cubicBezTo>
                        <a:pt x="121" y="466"/>
                        <a:pt x="118" y="473"/>
                        <a:pt x="118" y="480"/>
                      </a:cubicBezTo>
                      <a:cubicBezTo>
                        <a:pt x="118" y="1581"/>
                        <a:pt x="118" y="1581"/>
                        <a:pt x="118" y="1581"/>
                      </a:cubicBezTo>
                      <a:cubicBezTo>
                        <a:pt x="162" y="1581"/>
                        <a:pt x="162" y="1581"/>
                        <a:pt x="162" y="1581"/>
                      </a:cubicBezTo>
                      <a:cubicBezTo>
                        <a:pt x="162" y="510"/>
                        <a:pt x="162" y="510"/>
                        <a:pt x="162" y="510"/>
                      </a:cubicBezTo>
                      <a:cubicBezTo>
                        <a:pt x="699" y="689"/>
                        <a:pt x="699" y="689"/>
                        <a:pt x="699" y="689"/>
                      </a:cubicBezTo>
                      <a:cubicBezTo>
                        <a:pt x="706" y="691"/>
                        <a:pt x="713" y="690"/>
                        <a:pt x="719" y="686"/>
                      </a:cubicBezTo>
                      <a:cubicBezTo>
                        <a:pt x="725" y="682"/>
                        <a:pt x="728" y="675"/>
                        <a:pt x="728" y="668"/>
                      </a:cubicBezTo>
                      <a:cubicBezTo>
                        <a:pt x="728" y="510"/>
                        <a:pt x="728" y="510"/>
                        <a:pt x="728" y="510"/>
                      </a:cubicBezTo>
                      <a:cubicBezTo>
                        <a:pt x="1275" y="691"/>
                        <a:pt x="1275" y="691"/>
                        <a:pt x="1275" y="691"/>
                      </a:cubicBezTo>
                      <a:cubicBezTo>
                        <a:pt x="1277" y="692"/>
                        <a:pt x="1280" y="692"/>
                        <a:pt x="1282" y="692"/>
                      </a:cubicBezTo>
                      <a:cubicBezTo>
                        <a:pt x="1768" y="692"/>
                        <a:pt x="1768" y="692"/>
                        <a:pt x="1768" y="692"/>
                      </a:cubicBezTo>
                      <a:cubicBezTo>
                        <a:pt x="1768" y="1581"/>
                        <a:pt x="1768" y="1581"/>
                        <a:pt x="1768" y="1581"/>
                      </a:cubicBezTo>
                      <a:cubicBezTo>
                        <a:pt x="1812" y="1581"/>
                        <a:pt x="1812" y="1581"/>
                        <a:pt x="1812" y="1581"/>
                      </a:cubicBezTo>
                      <a:lnTo>
                        <a:pt x="1812" y="670"/>
                      </a:lnTo>
                      <a:close/>
                    </a:path>
                  </a:pathLst>
                </a:custGeom>
                <a:solidFill>
                  <a:srgbClr val="595959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/>
        </p:nvGrpSpPr>
        <p:grpSpPr>
          <a:xfrm>
            <a:off x="5534287" y="4369318"/>
            <a:ext cx="1127654" cy="1127656"/>
            <a:chOff x="5426333" y="4234235"/>
            <a:chExt cx="1127654" cy="1127656"/>
          </a:xfrm>
        </p:grpSpPr>
        <p:sp>
          <p:nvSpPr>
            <p:cNvPr id="3" name="Oval 2"/>
            <p:cNvSpPr/>
            <p:nvPr/>
          </p:nvSpPr>
          <p:spPr>
            <a:xfrm>
              <a:off x="542633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2" name="Group 21"/>
            <p:cNvGrpSpPr>
              <a:grpSpLocks noChangeAspect="1"/>
            </p:cNvGrpSpPr>
            <p:nvPr/>
          </p:nvGrpSpPr>
          <p:grpSpPr>
            <a:xfrm>
              <a:off x="5579060" y="4386583"/>
              <a:ext cx="822200" cy="822960"/>
              <a:chOff x="5273799" y="2606040"/>
              <a:chExt cx="1644396" cy="1645920"/>
            </a:xfrm>
          </p:grpSpPr>
          <p:sp>
            <p:nvSpPr>
              <p:cNvPr id="23" name="AutoShape 28">
                <a:extLst>
                  <a:ext uri="{FF2B5EF4-FFF2-40B4-BE49-F238E27FC236}">
                    <a16:creationId xmlns:a16="http://schemas.microsoft.com/office/drawing/2014/main" id="{7563FC07-0F95-4975-8A35-266F618BA3E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grpSp>
            <p:nvGrpSpPr>
              <p:cNvPr id="24" name="Group 23"/>
              <p:cNvGrpSpPr/>
              <p:nvPr/>
            </p:nvGrpSpPr>
            <p:grpSpPr>
              <a:xfrm>
                <a:off x="5537070" y="2899029"/>
                <a:ext cx="1119378" cy="1182243"/>
                <a:chOff x="5537070" y="2899029"/>
                <a:chExt cx="1119378" cy="1182243"/>
              </a:xfrm>
            </p:grpSpPr>
            <p:sp>
              <p:nvSpPr>
                <p:cNvPr id="25" name="Freeform 30">
                  <a:extLst>
                    <a:ext uri="{FF2B5EF4-FFF2-40B4-BE49-F238E27FC236}">
                      <a16:creationId xmlns:a16="http://schemas.microsoft.com/office/drawing/2014/main" id="{49BC73FE-6853-4419-AC44-1784975BCF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38594" y="2961894"/>
                  <a:ext cx="1116330" cy="961263"/>
                </a:xfrm>
                <a:custGeom>
                  <a:avLst/>
                  <a:gdLst>
                    <a:gd name="T0" fmla="*/ 752 w 1564"/>
                    <a:gd name="T1" fmla="*/ 1346 h 1346"/>
                    <a:gd name="T2" fmla="*/ 479 w 1564"/>
                    <a:gd name="T3" fmla="*/ 1346 h 1346"/>
                    <a:gd name="T4" fmla="*/ 469 w 1564"/>
                    <a:gd name="T5" fmla="*/ 1336 h 1346"/>
                    <a:gd name="T6" fmla="*/ 469 w 1564"/>
                    <a:gd name="T7" fmla="*/ 856 h 1346"/>
                    <a:gd name="T8" fmla="*/ 479 w 1564"/>
                    <a:gd name="T9" fmla="*/ 846 h 1346"/>
                    <a:gd name="T10" fmla="*/ 752 w 1564"/>
                    <a:gd name="T11" fmla="*/ 846 h 1346"/>
                    <a:gd name="T12" fmla="*/ 762 w 1564"/>
                    <a:gd name="T13" fmla="*/ 856 h 1346"/>
                    <a:gd name="T14" fmla="*/ 762 w 1564"/>
                    <a:gd name="T15" fmla="*/ 1336 h 1346"/>
                    <a:gd name="T16" fmla="*/ 752 w 1564"/>
                    <a:gd name="T17" fmla="*/ 1346 h 1346"/>
                    <a:gd name="T18" fmla="*/ 1095 w 1564"/>
                    <a:gd name="T19" fmla="*/ 1336 h 1346"/>
                    <a:gd name="T20" fmla="*/ 1095 w 1564"/>
                    <a:gd name="T21" fmla="*/ 856 h 1346"/>
                    <a:gd name="T22" fmla="*/ 1085 w 1564"/>
                    <a:gd name="T23" fmla="*/ 846 h 1346"/>
                    <a:gd name="T24" fmla="*/ 812 w 1564"/>
                    <a:gd name="T25" fmla="*/ 846 h 1346"/>
                    <a:gd name="T26" fmla="*/ 802 w 1564"/>
                    <a:gd name="T27" fmla="*/ 856 h 1346"/>
                    <a:gd name="T28" fmla="*/ 802 w 1564"/>
                    <a:gd name="T29" fmla="*/ 1336 h 1346"/>
                    <a:gd name="T30" fmla="*/ 812 w 1564"/>
                    <a:gd name="T31" fmla="*/ 1346 h 1346"/>
                    <a:gd name="T32" fmla="*/ 1085 w 1564"/>
                    <a:gd name="T33" fmla="*/ 1346 h 1346"/>
                    <a:gd name="T34" fmla="*/ 1095 w 1564"/>
                    <a:gd name="T35" fmla="*/ 1336 h 1346"/>
                    <a:gd name="T36" fmla="*/ 1554 w 1564"/>
                    <a:gd name="T37" fmla="*/ 372 h 1346"/>
                    <a:gd name="T38" fmla="*/ 1384 w 1564"/>
                    <a:gd name="T39" fmla="*/ 18 h 1346"/>
                    <a:gd name="T40" fmla="*/ 1360 w 1564"/>
                    <a:gd name="T41" fmla="*/ 0 h 1346"/>
                    <a:gd name="T42" fmla="*/ 205 w 1564"/>
                    <a:gd name="T43" fmla="*/ 0 h 1346"/>
                    <a:gd name="T44" fmla="*/ 180 w 1564"/>
                    <a:gd name="T45" fmla="*/ 20 h 1346"/>
                    <a:gd name="T46" fmla="*/ 10 w 1564"/>
                    <a:gd name="T47" fmla="*/ 370 h 1346"/>
                    <a:gd name="T48" fmla="*/ 34 w 1564"/>
                    <a:gd name="T49" fmla="*/ 408 h 1346"/>
                    <a:gd name="T50" fmla="*/ 1530 w 1564"/>
                    <a:gd name="T51" fmla="*/ 408 h 1346"/>
                    <a:gd name="T52" fmla="*/ 1554 w 1564"/>
                    <a:gd name="T53" fmla="*/ 372 h 1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64" h="1346">
                      <a:moveTo>
                        <a:pt x="752" y="1346"/>
                      </a:moveTo>
                      <a:cubicBezTo>
                        <a:pt x="479" y="1346"/>
                        <a:pt x="479" y="1346"/>
                        <a:pt x="479" y="1346"/>
                      </a:cubicBezTo>
                      <a:cubicBezTo>
                        <a:pt x="474" y="1346"/>
                        <a:pt x="469" y="1342"/>
                        <a:pt x="469" y="1336"/>
                      </a:cubicBezTo>
                      <a:cubicBezTo>
                        <a:pt x="469" y="856"/>
                        <a:pt x="469" y="856"/>
                        <a:pt x="469" y="856"/>
                      </a:cubicBezTo>
                      <a:cubicBezTo>
                        <a:pt x="469" y="851"/>
                        <a:pt x="474" y="846"/>
                        <a:pt x="479" y="846"/>
                      </a:cubicBezTo>
                      <a:cubicBezTo>
                        <a:pt x="752" y="846"/>
                        <a:pt x="752" y="846"/>
                        <a:pt x="752" y="846"/>
                      </a:cubicBezTo>
                      <a:cubicBezTo>
                        <a:pt x="758" y="846"/>
                        <a:pt x="762" y="851"/>
                        <a:pt x="762" y="856"/>
                      </a:cubicBezTo>
                      <a:cubicBezTo>
                        <a:pt x="762" y="1336"/>
                        <a:pt x="762" y="1336"/>
                        <a:pt x="762" y="1336"/>
                      </a:cubicBezTo>
                      <a:cubicBezTo>
                        <a:pt x="762" y="1342"/>
                        <a:pt x="758" y="1346"/>
                        <a:pt x="752" y="1346"/>
                      </a:cubicBezTo>
                      <a:close/>
                      <a:moveTo>
                        <a:pt x="1095" y="1336"/>
                      </a:moveTo>
                      <a:cubicBezTo>
                        <a:pt x="1095" y="856"/>
                        <a:pt x="1095" y="856"/>
                        <a:pt x="1095" y="856"/>
                      </a:cubicBezTo>
                      <a:cubicBezTo>
                        <a:pt x="1095" y="851"/>
                        <a:pt x="1090" y="846"/>
                        <a:pt x="1085" y="846"/>
                      </a:cubicBezTo>
                      <a:cubicBezTo>
                        <a:pt x="812" y="846"/>
                        <a:pt x="812" y="846"/>
                        <a:pt x="812" y="846"/>
                      </a:cubicBezTo>
                      <a:cubicBezTo>
                        <a:pt x="806" y="846"/>
                        <a:pt x="802" y="851"/>
                        <a:pt x="802" y="856"/>
                      </a:cubicBezTo>
                      <a:cubicBezTo>
                        <a:pt x="802" y="1336"/>
                        <a:pt x="802" y="1336"/>
                        <a:pt x="802" y="1336"/>
                      </a:cubicBezTo>
                      <a:cubicBezTo>
                        <a:pt x="802" y="1342"/>
                        <a:pt x="806" y="1346"/>
                        <a:pt x="812" y="1346"/>
                      </a:cubicBezTo>
                      <a:cubicBezTo>
                        <a:pt x="1085" y="1346"/>
                        <a:pt x="1085" y="1346"/>
                        <a:pt x="1085" y="1346"/>
                      </a:cubicBezTo>
                      <a:cubicBezTo>
                        <a:pt x="1090" y="1346"/>
                        <a:pt x="1095" y="1342"/>
                        <a:pt x="1095" y="1336"/>
                      </a:cubicBezTo>
                      <a:close/>
                      <a:moveTo>
                        <a:pt x="1554" y="372"/>
                      </a:moveTo>
                      <a:cubicBezTo>
                        <a:pt x="1384" y="18"/>
                        <a:pt x="1384" y="18"/>
                        <a:pt x="1384" y="18"/>
                      </a:cubicBezTo>
                      <a:cubicBezTo>
                        <a:pt x="1379" y="9"/>
                        <a:pt x="1370" y="0"/>
                        <a:pt x="1360" y="0"/>
                      </a:cubicBezTo>
                      <a:cubicBezTo>
                        <a:pt x="205" y="0"/>
                        <a:pt x="205" y="0"/>
                        <a:pt x="205" y="0"/>
                      </a:cubicBezTo>
                      <a:cubicBezTo>
                        <a:pt x="194" y="0"/>
                        <a:pt x="185" y="11"/>
                        <a:pt x="180" y="20"/>
                      </a:cubicBezTo>
                      <a:cubicBezTo>
                        <a:pt x="10" y="370"/>
                        <a:pt x="10" y="370"/>
                        <a:pt x="10" y="370"/>
                      </a:cubicBezTo>
                      <a:cubicBezTo>
                        <a:pt x="0" y="388"/>
                        <a:pt x="14" y="408"/>
                        <a:pt x="34" y="408"/>
                      </a:cubicBezTo>
                      <a:cubicBezTo>
                        <a:pt x="1530" y="408"/>
                        <a:pt x="1530" y="408"/>
                        <a:pt x="1530" y="408"/>
                      </a:cubicBezTo>
                      <a:cubicBezTo>
                        <a:pt x="1551" y="408"/>
                        <a:pt x="1564" y="391"/>
                        <a:pt x="1554" y="372"/>
                      </a:cubicBezTo>
                      <a:close/>
                    </a:path>
                  </a:pathLst>
                </a:custGeom>
                <a:solidFill>
                  <a:srgbClr val="98A6CC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  <p:sp>
              <p:nvSpPr>
                <p:cNvPr id="26" name="Freeform 31">
                  <a:extLst>
                    <a:ext uri="{FF2B5EF4-FFF2-40B4-BE49-F238E27FC236}">
                      <a16:creationId xmlns:a16="http://schemas.microsoft.com/office/drawing/2014/main" id="{76C2B07B-CC10-467E-80DB-D1179FF6D7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37070" y="2899029"/>
                  <a:ext cx="1119378" cy="1182243"/>
                </a:xfrm>
                <a:custGeom>
                  <a:avLst/>
                  <a:gdLst>
                    <a:gd name="T0" fmla="*/ 1524 w 1568"/>
                    <a:gd name="T1" fmla="*/ 1529 h 1655"/>
                    <a:gd name="T2" fmla="*/ 1459 w 1568"/>
                    <a:gd name="T3" fmla="*/ 1529 h 1655"/>
                    <a:gd name="T4" fmla="*/ 1459 w 1568"/>
                    <a:gd name="T5" fmla="*/ 1500 h 1655"/>
                    <a:gd name="T6" fmla="*/ 1438 w 1568"/>
                    <a:gd name="T7" fmla="*/ 1478 h 1655"/>
                    <a:gd name="T8" fmla="*/ 130 w 1568"/>
                    <a:gd name="T9" fmla="*/ 1478 h 1655"/>
                    <a:gd name="T10" fmla="*/ 109 w 1568"/>
                    <a:gd name="T11" fmla="*/ 1500 h 1655"/>
                    <a:gd name="T12" fmla="*/ 109 w 1568"/>
                    <a:gd name="T13" fmla="*/ 1529 h 1655"/>
                    <a:gd name="T14" fmla="*/ 44 w 1568"/>
                    <a:gd name="T15" fmla="*/ 1529 h 1655"/>
                    <a:gd name="T16" fmla="*/ 23 w 1568"/>
                    <a:gd name="T17" fmla="*/ 1551 h 1655"/>
                    <a:gd name="T18" fmla="*/ 23 w 1568"/>
                    <a:gd name="T19" fmla="*/ 1634 h 1655"/>
                    <a:gd name="T20" fmla="*/ 44 w 1568"/>
                    <a:gd name="T21" fmla="*/ 1655 h 1655"/>
                    <a:gd name="T22" fmla="*/ 1524 w 1568"/>
                    <a:gd name="T23" fmla="*/ 1655 h 1655"/>
                    <a:gd name="T24" fmla="*/ 1545 w 1568"/>
                    <a:gd name="T25" fmla="*/ 1634 h 1655"/>
                    <a:gd name="T26" fmla="*/ 1545 w 1568"/>
                    <a:gd name="T27" fmla="*/ 1551 h 1655"/>
                    <a:gd name="T28" fmla="*/ 1524 w 1568"/>
                    <a:gd name="T29" fmla="*/ 1529 h 1655"/>
                    <a:gd name="T30" fmla="*/ 1568 w 1568"/>
                    <a:gd name="T31" fmla="*/ 562 h 1655"/>
                    <a:gd name="T32" fmla="*/ 1568 w 1568"/>
                    <a:gd name="T33" fmla="*/ 583 h 1655"/>
                    <a:gd name="T34" fmla="*/ 1568 w 1568"/>
                    <a:gd name="T35" fmla="*/ 583 h 1655"/>
                    <a:gd name="T36" fmla="*/ 1394 w 1568"/>
                    <a:gd name="T37" fmla="*/ 778 h 1655"/>
                    <a:gd name="T38" fmla="*/ 1394 w 1568"/>
                    <a:gd name="T39" fmla="*/ 1434 h 1655"/>
                    <a:gd name="T40" fmla="*/ 1350 w 1568"/>
                    <a:gd name="T41" fmla="*/ 1434 h 1655"/>
                    <a:gd name="T42" fmla="*/ 1350 w 1568"/>
                    <a:gd name="T43" fmla="*/ 778 h 1655"/>
                    <a:gd name="T44" fmla="*/ 1176 w 1568"/>
                    <a:gd name="T45" fmla="*/ 588 h 1655"/>
                    <a:gd name="T46" fmla="*/ 980 w 1568"/>
                    <a:gd name="T47" fmla="*/ 779 h 1655"/>
                    <a:gd name="T48" fmla="*/ 784 w 1568"/>
                    <a:gd name="T49" fmla="*/ 588 h 1655"/>
                    <a:gd name="T50" fmla="*/ 588 w 1568"/>
                    <a:gd name="T51" fmla="*/ 779 h 1655"/>
                    <a:gd name="T52" fmla="*/ 392 w 1568"/>
                    <a:gd name="T53" fmla="*/ 588 h 1655"/>
                    <a:gd name="T54" fmla="*/ 218 w 1568"/>
                    <a:gd name="T55" fmla="*/ 778 h 1655"/>
                    <a:gd name="T56" fmla="*/ 218 w 1568"/>
                    <a:gd name="T57" fmla="*/ 1434 h 1655"/>
                    <a:gd name="T58" fmla="*/ 174 w 1568"/>
                    <a:gd name="T59" fmla="*/ 1434 h 1655"/>
                    <a:gd name="T60" fmla="*/ 174 w 1568"/>
                    <a:gd name="T61" fmla="*/ 778 h 1655"/>
                    <a:gd name="T62" fmla="*/ 0 w 1568"/>
                    <a:gd name="T63" fmla="*/ 583 h 1655"/>
                    <a:gd name="T64" fmla="*/ 0 w 1568"/>
                    <a:gd name="T65" fmla="*/ 583 h 1655"/>
                    <a:gd name="T66" fmla="*/ 0 w 1568"/>
                    <a:gd name="T67" fmla="*/ 562 h 1655"/>
                    <a:gd name="T68" fmla="*/ 22 w 1568"/>
                    <a:gd name="T69" fmla="*/ 540 h 1655"/>
                    <a:gd name="T70" fmla="*/ 1546 w 1568"/>
                    <a:gd name="T71" fmla="*/ 540 h 1655"/>
                    <a:gd name="T72" fmla="*/ 1568 w 1568"/>
                    <a:gd name="T73" fmla="*/ 562 h 1655"/>
                    <a:gd name="T74" fmla="*/ 1354 w 1568"/>
                    <a:gd name="T75" fmla="*/ 44 h 1655"/>
                    <a:gd name="T76" fmla="*/ 214 w 1568"/>
                    <a:gd name="T77" fmla="*/ 44 h 1655"/>
                    <a:gd name="T78" fmla="*/ 192 w 1568"/>
                    <a:gd name="T79" fmla="*/ 22 h 1655"/>
                    <a:gd name="T80" fmla="*/ 214 w 1568"/>
                    <a:gd name="T81" fmla="*/ 0 h 1655"/>
                    <a:gd name="T82" fmla="*/ 1354 w 1568"/>
                    <a:gd name="T83" fmla="*/ 0 h 1655"/>
                    <a:gd name="T84" fmla="*/ 1376 w 1568"/>
                    <a:gd name="T85" fmla="*/ 22 h 1655"/>
                    <a:gd name="T86" fmla="*/ 1354 w 1568"/>
                    <a:gd name="T87" fmla="*/ 44 h 16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68" h="1655">
                      <a:moveTo>
                        <a:pt x="1524" y="1529"/>
                      </a:moveTo>
                      <a:cubicBezTo>
                        <a:pt x="1459" y="1529"/>
                        <a:pt x="1459" y="1529"/>
                        <a:pt x="1459" y="1529"/>
                      </a:cubicBezTo>
                      <a:cubicBezTo>
                        <a:pt x="1459" y="1500"/>
                        <a:pt x="1459" y="1500"/>
                        <a:pt x="1459" y="1500"/>
                      </a:cubicBezTo>
                      <a:cubicBezTo>
                        <a:pt x="1459" y="1488"/>
                        <a:pt x="1450" y="1478"/>
                        <a:pt x="1438" y="1478"/>
                      </a:cubicBezTo>
                      <a:cubicBezTo>
                        <a:pt x="130" y="1478"/>
                        <a:pt x="130" y="1478"/>
                        <a:pt x="130" y="1478"/>
                      </a:cubicBezTo>
                      <a:cubicBezTo>
                        <a:pt x="118" y="1478"/>
                        <a:pt x="109" y="1488"/>
                        <a:pt x="109" y="1500"/>
                      </a:cubicBezTo>
                      <a:cubicBezTo>
                        <a:pt x="109" y="1529"/>
                        <a:pt x="109" y="1529"/>
                        <a:pt x="109" y="1529"/>
                      </a:cubicBezTo>
                      <a:cubicBezTo>
                        <a:pt x="44" y="1529"/>
                        <a:pt x="44" y="1529"/>
                        <a:pt x="44" y="1529"/>
                      </a:cubicBezTo>
                      <a:cubicBezTo>
                        <a:pt x="32" y="1529"/>
                        <a:pt x="23" y="1539"/>
                        <a:pt x="23" y="1551"/>
                      </a:cubicBezTo>
                      <a:cubicBezTo>
                        <a:pt x="23" y="1634"/>
                        <a:pt x="23" y="1634"/>
                        <a:pt x="23" y="1634"/>
                      </a:cubicBezTo>
                      <a:cubicBezTo>
                        <a:pt x="23" y="1646"/>
                        <a:pt x="32" y="1655"/>
                        <a:pt x="44" y="1655"/>
                      </a:cubicBezTo>
                      <a:cubicBezTo>
                        <a:pt x="1524" y="1655"/>
                        <a:pt x="1524" y="1655"/>
                        <a:pt x="1524" y="1655"/>
                      </a:cubicBezTo>
                      <a:cubicBezTo>
                        <a:pt x="1536" y="1655"/>
                        <a:pt x="1545" y="1646"/>
                        <a:pt x="1545" y="1634"/>
                      </a:cubicBezTo>
                      <a:cubicBezTo>
                        <a:pt x="1545" y="1551"/>
                        <a:pt x="1545" y="1551"/>
                        <a:pt x="1545" y="1551"/>
                      </a:cubicBezTo>
                      <a:cubicBezTo>
                        <a:pt x="1545" y="1539"/>
                        <a:pt x="1536" y="1529"/>
                        <a:pt x="1524" y="1529"/>
                      </a:cubicBezTo>
                      <a:close/>
                      <a:moveTo>
                        <a:pt x="1568" y="562"/>
                      </a:moveTo>
                      <a:cubicBezTo>
                        <a:pt x="1568" y="583"/>
                        <a:pt x="1568" y="583"/>
                        <a:pt x="1568" y="583"/>
                      </a:cubicBezTo>
                      <a:cubicBezTo>
                        <a:pt x="1568" y="583"/>
                        <a:pt x="1568" y="583"/>
                        <a:pt x="1568" y="583"/>
                      </a:cubicBezTo>
                      <a:cubicBezTo>
                        <a:pt x="1568" y="684"/>
                        <a:pt x="1491" y="767"/>
                        <a:pt x="1394" y="778"/>
                      </a:cubicBezTo>
                      <a:cubicBezTo>
                        <a:pt x="1394" y="1434"/>
                        <a:pt x="1394" y="1434"/>
                        <a:pt x="1394" y="1434"/>
                      </a:cubicBezTo>
                      <a:cubicBezTo>
                        <a:pt x="1350" y="1434"/>
                        <a:pt x="1350" y="1434"/>
                        <a:pt x="1350" y="1434"/>
                      </a:cubicBezTo>
                      <a:cubicBezTo>
                        <a:pt x="1350" y="778"/>
                        <a:pt x="1350" y="778"/>
                        <a:pt x="1350" y="778"/>
                      </a:cubicBezTo>
                      <a:cubicBezTo>
                        <a:pt x="1253" y="767"/>
                        <a:pt x="1178" y="687"/>
                        <a:pt x="1176" y="588"/>
                      </a:cubicBezTo>
                      <a:cubicBezTo>
                        <a:pt x="1173" y="694"/>
                        <a:pt x="1086" y="779"/>
                        <a:pt x="980" y="779"/>
                      </a:cubicBezTo>
                      <a:cubicBezTo>
                        <a:pt x="873" y="779"/>
                        <a:pt x="787" y="694"/>
                        <a:pt x="784" y="588"/>
                      </a:cubicBezTo>
                      <a:cubicBezTo>
                        <a:pt x="781" y="694"/>
                        <a:pt x="695" y="779"/>
                        <a:pt x="588" y="779"/>
                      </a:cubicBezTo>
                      <a:cubicBezTo>
                        <a:pt x="482" y="779"/>
                        <a:pt x="395" y="694"/>
                        <a:pt x="392" y="588"/>
                      </a:cubicBezTo>
                      <a:cubicBezTo>
                        <a:pt x="390" y="687"/>
                        <a:pt x="315" y="767"/>
                        <a:pt x="218" y="778"/>
                      </a:cubicBezTo>
                      <a:cubicBezTo>
                        <a:pt x="218" y="1434"/>
                        <a:pt x="218" y="1434"/>
                        <a:pt x="218" y="1434"/>
                      </a:cubicBezTo>
                      <a:cubicBezTo>
                        <a:pt x="174" y="1434"/>
                        <a:pt x="174" y="1434"/>
                        <a:pt x="174" y="1434"/>
                      </a:cubicBezTo>
                      <a:cubicBezTo>
                        <a:pt x="174" y="778"/>
                        <a:pt x="174" y="778"/>
                        <a:pt x="174" y="778"/>
                      </a:cubicBezTo>
                      <a:cubicBezTo>
                        <a:pt x="77" y="767"/>
                        <a:pt x="0" y="684"/>
                        <a:pt x="0" y="583"/>
                      </a:cubicBezTo>
                      <a:cubicBezTo>
                        <a:pt x="0" y="583"/>
                        <a:pt x="0" y="583"/>
                        <a:pt x="0" y="583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0" y="549"/>
                        <a:pt x="10" y="540"/>
                        <a:pt x="22" y="540"/>
                      </a:cubicBezTo>
                      <a:cubicBezTo>
                        <a:pt x="1546" y="540"/>
                        <a:pt x="1546" y="540"/>
                        <a:pt x="1546" y="540"/>
                      </a:cubicBezTo>
                      <a:cubicBezTo>
                        <a:pt x="1558" y="540"/>
                        <a:pt x="1568" y="549"/>
                        <a:pt x="1568" y="562"/>
                      </a:cubicBezTo>
                      <a:close/>
                      <a:moveTo>
                        <a:pt x="1354" y="44"/>
                      </a:moveTo>
                      <a:cubicBezTo>
                        <a:pt x="214" y="44"/>
                        <a:pt x="214" y="44"/>
                        <a:pt x="214" y="44"/>
                      </a:cubicBezTo>
                      <a:cubicBezTo>
                        <a:pt x="202" y="44"/>
                        <a:pt x="192" y="34"/>
                        <a:pt x="192" y="22"/>
                      </a:cubicBezTo>
                      <a:cubicBezTo>
                        <a:pt x="192" y="10"/>
                        <a:pt x="202" y="0"/>
                        <a:pt x="214" y="0"/>
                      </a:cubicBezTo>
                      <a:cubicBezTo>
                        <a:pt x="1354" y="0"/>
                        <a:pt x="1354" y="0"/>
                        <a:pt x="1354" y="0"/>
                      </a:cubicBezTo>
                      <a:cubicBezTo>
                        <a:pt x="1366" y="0"/>
                        <a:pt x="1376" y="10"/>
                        <a:pt x="1376" y="22"/>
                      </a:cubicBezTo>
                      <a:cubicBezTo>
                        <a:pt x="1376" y="34"/>
                        <a:pt x="1366" y="44"/>
                        <a:pt x="1354" y="44"/>
                      </a:cubicBezTo>
                      <a:close/>
                    </a:path>
                  </a:pathLst>
                </a:custGeom>
                <a:solidFill>
                  <a:srgbClr val="595959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/>
        </p:nvGrpSpPr>
        <p:grpSpPr>
          <a:xfrm>
            <a:off x="7786507" y="4369318"/>
            <a:ext cx="1127654" cy="1127656"/>
            <a:chOff x="7678553" y="4234235"/>
            <a:chExt cx="1127654" cy="1127656"/>
          </a:xfrm>
        </p:grpSpPr>
        <p:sp>
          <p:nvSpPr>
            <p:cNvPr id="5" name="Oval 4"/>
            <p:cNvSpPr/>
            <p:nvPr/>
          </p:nvSpPr>
          <p:spPr>
            <a:xfrm>
              <a:off x="767855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7" name="bcgIcons_CashRegister">
              <a:extLst>
                <a:ext uri="{FF2B5EF4-FFF2-40B4-BE49-F238E27FC236}">
                  <a16:creationId xmlns:a16="http://schemas.microsoft.com/office/drawing/2014/main" id="{1CA5B7BC-38C6-4110-B472-469458A7E47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831280" y="4386583"/>
              <a:ext cx="822200" cy="822960"/>
              <a:chOff x="1682" y="0"/>
              <a:chExt cx="4316" cy="4320"/>
            </a:xfrm>
          </p:grpSpPr>
          <p:sp>
            <p:nvSpPr>
              <p:cNvPr id="28" name="AutoShape 23">
                <a:extLst>
                  <a:ext uri="{FF2B5EF4-FFF2-40B4-BE49-F238E27FC236}">
                    <a16:creationId xmlns:a16="http://schemas.microsoft.com/office/drawing/2014/main" id="{B9A507EE-595A-4699-B9C1-2BCC319EBEE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9" name="Freeform 25">
                <a:extLst>
                  <a:ext uri="{FF2B5EF4-FFF2-40B4-BE49-F238E27FC236}">
                    <a16:creationId xmlns:a16="http://schemas.microsoft.com/office/drawing/2014/main" id="{3EC6DBE2-FD65-4511-A012-BE0A009EDC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8" y="844"/>
                <a:ext cx="1926" cy="1665"/>
              </a:xfrm>
              <a:custGeom>
                <a:avLst/>
                <a:gdLst>
                  <a:gd name="T0" fmla="*/ 22 w 1028"/>
                  <a:gd name="T1" fmla="*/ 518 h 888"/>
                  <a:gd name="T2" fmla="*/ 22 w 1028"/>
                  <a:gd name="T3" fmla="*/ 474 h 888"/>
                  <a:gd name="T4" fmla="*/ 241 w 1028"/>
                  <a:gd name="T5" fmla="*/ 496 h 888"/>
                  <a:gd name="T6" fmla="*/ 241 w 1028"/>
                  <a:gd name="T7" fmla="*/ 400 h 888"/>
                  <a:gd name="T8" fmla="*/ 22 w 1028"/>
                  <a:gd name="T9" fmla="*/ 378 h 888"/>
                  <a:gd name="T10" fmla="*/ 22 w 1028"/>
                  <a:gd name="T11" fmla="*/ 422 h 888"/>
                  <a:gd name="T12" fmla="*/ 241 w 1028"/>
                  <a:gd name="T13" fmla="*/ 400 h 888"/>
                  <a:gd name="T14" fmla="*/ 219 w 1028"/>
                  <a:gd name="T15" fmla="*/ 281 h 888"/>
                  <a:gd name="T16" fmla="*/ 0 w 1028"/>
                  <a:gd name="T17" fmla="*/ 303 h 888"/>
                  <a:gd name="T18" fmla="*/ 219 w 1028"/>
                  <a:gd name="T19" fmla="*/ 325 h 888"/>
                  <a:gd name="T20" fmla="*/ 241 w 1028"/>
                  <a:gd name="T21" fmla="*/ 207 h 888"/>
                  <a:gd name="T22" fmla="*/ 22 w 1028"/>
                  <a:gd name="T23" fmla="*/ 185 h 888"/>
                  <a:gd name="T24" fmla="*/ 22 w 1028"/>
                  <a:gd name="T25" fmla="*/ 229 h 888"/>
                  <a:gd name="T26" fmla="*/ 241 w 1028"/>
                  <a:gd name="T27" fmla="*/ 207 h 888"/>
                  <a:gd name="T28" fmla="*/ 1028 w 1028"/>
                  <a:gd name="T29" fmla="*/ 388 h 888"/>
                  <a:gd name="T30" fmla="*/ 554 w 1028"/>
                  <a:gd name="T31" fmla="*/ 378 h 888"/>
                  <a:gd name="T32" fmla="*/ 544 w 1028"/>
                  <a:gd name="T33" fmla="*/ 529 h 888"/>
                  <a:gd name="T34" fmla="*/ 1018 w 1028"/>
                  <a:gd name="T35" fmla="*/ 539 h 888"/>
                  <a:gd name="T36" fmla="*/ 1016 w 1028"/>
                  <a:gd name="T37" fmla="*/ 136 h 888"/>
                  <a:gd name="T38" fmla="*/ 1006 w 1028"/>
                  <a:gd name="T39" fmla="*/ 0 h 888"/>
                  <a:gd name="T40" fmla="*/ 556 w 1028"/>
                  <a:gd name="T41" fmla="*/ 10 h 888"/>
                  <a:gd name="T42" fmla="*/ 566 w 1028"/>
                  <a:gd name="T43" fmla="*/ 146 h 888"/>
                  <a:gd name="T44" fmla="*/ 1016 w 1028"/>
                  <a:gd name="T45" fmla="*/ 136 h 888"/>
                  <a:gd name="T46" fmla="*/ 676 w 1028"/>
                  <a:gd name="T47" fmla="*/ 617 h 888"/>
                  <a:gd name="T48" fmla="*/ 594 w 1028"/>
                  <a:gd name="T49" fmla="*/ 595 h 888"/>
                  <a:gd name="T50" fmla="*/ 572 w 1028"/>
                  <a:gd name="T51" fmla="*/ 638 h 888"/>
                  <a:gd name="T52" fmla="*/ 654 w 1028"/>
                  <a:gd name="T53" fmla="*/ 660 h 888"/>
                  <a:gd name="T54" fmla="*/ 843 w 1028"/>
                  <a:gd name="T55" fmla="*/ 638 h 888"/>
                  <a:gd name="T56" fmla="*/ 821 w 1028"/>
                  <a:gd name="T57" fmla="*/ 595 h 888"/>
                  <a:gd name="T58" fmla="*/ 738 w 1028"/>
                  <a:gd name="T59" fmla="*/ 617 h 888"/>
                  <a:gd name="T60" fmla="*/ 760 w 1028"/>
                  <a:gd name="T61" fmla="*/ 660 h 888"/>
                  <a:gd name="T62" fmla="*/ 843 w 1028"/>
                  <a:gd name="T63" fmla="*/ 638 h 888"/>
                  <a:gd name="T64" fmla="*/ 676 w 1028"/>
                  <a:gd name="T65" fmla="*/ 731 h 888"/>
                  <a:gd name="T66" fmla="*/ 594 w 1028"/>
                  <a:gd name="T67" fmla="*/ 709 h 888"/>
                  <a:gd name="T68" fmla="*/ 572 w 1028"/>
                  <a:gd name="T69" fmla="*/ 752 h 888"/>
                  <a:gd name="T70" fmla="*/ 654 w 1028"/>
                  <a:gd name="T71" fmla="*/ 774 h 888"/>
                  <a:gd name="T72" fmla="*/ 843 w 1028"/>
                  <a:gd name="T73" fmla="*/ 752 h 888"/>
                  <a:gd name="T74" fmla="*/ 821 w 1028"/>
                  <a:gd name="T75" fmla="*/ 709 h 888"/>
                  <a:gd name="T76" fmla="*/ 738 w 1028"/>
                  <a:gd name="T77" fmla="*/ 731 h 888"/>
                  <a:gd name="T78" fmla="*/ 760 w 1028"/>
                  <a:gd name="T79" fmla="*/ 774 h 888"/>
                  <a:gd name="T80" fmla="*/ 843 w 1028"/>
                  <a:gd name="T81" fmla="*/ 752 h 888"/>
                  <a:gd name="T82" fmla="*/ 676 w 1028"/>
                  <a:gd name="T83" fmla="*/ 845 h 888"/>
                  <a:gd name="T84" fmla="*/ 594 w 1028"/>
                  <a:gd name="T85" fmla="*/ 823 h 888"/>
                  <a:gd name="T86" fmla="*/ 572 w 1028"/>
                  <a:gd name="T87" fmla="*/ 866 h 888"/>
                  <a:gd name="T88" fmla="*/ 654 w 1028"/>
                  <a:gd name="T89" fmla="*/ 888 h 888"/>
                  <a:gd name="T90" fmla="*/ 843 w 1028"/>
                  <a:gd name="T91" fmla="*/ 866 h 888"/>
                  <a:gd name="T92" fmla="*/ 821 w 1028"/>
                  <a:gd name="T93" fmla="*/ 823 h 888"/>
                  <a:gd name="T94" fmla="*/ 738 w 1028"/>
                  <a:gd name="T95" fmla="*/ 845 h 888"/>
                  <a:gd name="T96" fmla="*/ 760 w 1028"/>
                  <a:gd name="T97" fmla="*/ 888 h 888"/>
                  <a:gd name="T98" fmla="*/ 843 w 1028"/>
                  <a:gd name="T99" fmla="*/ 866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28" h="888">
                    <a:moveTo>
                      <a:pt x="219" y="518"/>
                    </a:moveTo>
                    <a:cubicBezTo>
                      <a:pt x="22" y="518"/>
                      <a:pt x="22" y="518"/>
                      <a:pt x="22" y="518"/>
                    </a:cubicBezTo>
                    <a:cubicBezTo>
                      <a:pt x="10" y="518"/>
                      <a:pt x="0" y="508"/>
                      <a:pt x="0" y="496"/>
                    </a:cubicBezTo>
                    <a:cubicBezTo>
                      <a:pt x="0" y="484"/>
                      <a:pt x="10" y="474"/>
                      <a:pt x="22" y="474"/>
                    </a:cubicBezTo>
                    <a:cubicBezTo>
                      <a:pt x="219" y="474"/>
                      <a:pt x="219" y="474"/>
                      <a:pt x="219" y="474"/>
                    </a:cubicBezTo>
                    <a:cubicBezTo>
                      <a:pt x="231" y="474"/>
                      <a:pt x="241" y="484"/>
                      <a:pt x="241" y="496"/>
                    </a:cubicBezTo>
                    <a:cubicBezTo>
                      <a:pt x="241" y="508"/>
                      <a:pt x="231" y="518"/>
                      <a:pt x="219" y="518"/>
                    </a:cubicBezTo>
                    <a:close/>
                    <a:moveTo>
                      <a:pt x="241" y="400"/>
                    </a:moveTo>
                    <a:cubicBezTo>
                      <a:pt x="241" y="388"/>
                      <a:pt x="231" y="378"/>
                      <a:pt x="219" y="378"/>
                    </a:cubicBezTo>
                    <a:cubicBezTo>
                      <a:pt x="22" y="378"/>
                      <a:pt x="22" y="378"/>
                      <a:pt x="22" y="378"/>
                    </a:cubicBezTo>
                    <a:cubicBezTo>
                      <a:pt x="10" y="378"/>
                      <a:pt x="0" y="388"/>
                      <a:pt x="0" y="400"/>
                    </a:cubicBezTo>
                    <a:cubicBezTo>
                      <a:pt x="0" y="412"/>
                      <a:pt x="10" y="422"/>
                      <a:pt x="22" y="422"/>
                    </a:cubicBezTo>
                    <a:cubicBezTo>
                      <a:pt x="219" y="422"/>
                      <a:pt x="219" y="422"/>
                      <a:pt x="219" y="422"/>
                    </a:cubicBezTo>
                    <a:cubicBezTo>
                      <a:pt x="231" y="422"/>
                      <a:pt x="241" y="412"/>
                      <a:pt x="241" y="400"/>
                    </a:cubicBezTo>
                    <a:close/>
                    <a:moveTo>
                      <a:pt x="241" y="303"/>
                    </a:moveTo>
                    <a:cubicBezTo>
                      <a:pt x="241" y="291"/>
                      <a:pt x="231" y="281"/>
                      <a:pt x="219" y="281"/>
                    </a:cubicBezTo>
                    <a:cubicBezTo>
                      <a:pt x="22" y="281"/>
                      <a:pt x="22" y="281"/>
                      <a:pt x="22" y="281"/>
                    </a:cubicBezTo>
                    <a:cubicBezTo>
                      <a:pt x="10" y="281"/>
                      <a:pt x="0" y="291"/>
                      <a:pt x="0" y="303"/>
                    </a:cubicBezTo>
                    <a:cubicBezTo>
                      <a:pt x="0" y="316"/>
                      <a:pt x="10" y="325"/>
                      <a:pt x="22" y="325"/>
                    </a:cubicBezTo>
                    <a:cubicBezTo>
                      <a:pt x="219" y="325"/>
                      <a:pt x="219" y="325"/>
                      <a:pt x="219" y="325"/>
                    </a:cubicBezTo>
                    <a:cubicBezTo>
                      <a:pt x="231" y="325"/>
                      <a:pt x="241" y="316"/>
                      <a:pt x="241" y="303"/>
                    </a:cubicBezTo>
                    <a:close/>
                    <a:moveTo>
                      <a:pt x="241" y="207"/>
                    </a:moveTo>
                    <a:cubicBezTo>
                      <a:pt x="241" y="195"/>
                      <a:pt x="231" y="185"/>
                      <a:pt x="219" y="185"/>
                    </a:cubicBezTo>
                    <a:cubicBezTo>
                      <a:pt x="22" y="185"/>
                      <a:pt x="22" y="185"/>
                      <a:pt x="22" y="185"/>
                    </a:cubicBezTo>
                    <a:cubicBezTo>
                      <a:pt x="10" y="185"/>
                      <a:pt x="0" y="195"/>
                      <a:pt x="0" y="207"/>
                    </a:cubicBezTo>
                    <a:cubicBezTo>
                      <a:pt x="0" y="219"/>
                      <a:pt x="10" y="229"/>
                      <a:pt x="22" y="229"/>
                    </a:cubicBezTo>
                    <a:cubicBezTo>
                      <a:pt x="219" y="229"/>
                      <a:pt x="219" y="229"/>
                      <a:pt x="219" y="229"/>
                    </a:cubicBezTo>
                    <a:cubicBezTo>
                      <a:pt x="231" y="229"/>
                      <a:pt x="241" y="219"/>
                      <a:pt x="241" y="207"/>
                    </a:cubicBezTo>
                    <a:close/>
                    <a:moveTo>
                      <a:pt x="1028" y="529"/>
                    </a:moveTo>
                    <a:cubicBezTo>
                      <a:pt x="1028" y="388"/>
                      <a:pt x="1028" y="388"/>
                      <a:pt x="1028" y="388"/>
                    </a:cubicBezTo>
                    <a:cubicBezTo>
                      <a:pt x="1028" y="382"/>
                      <a:pt x="1023" y="378"/>
                      <a:pt x="1018" y="378"/>
                    </a:cubicBezTo>
                    <a:cubicBezTo>
                      <a:pt x="554" y="378"/>
                      <a:pt x="554" y="378"/>
                      <a:pt x="554" y="378"/>
                    </a:cubicBezTo>
                    <a:cubicBezTo>
                      <a:pt x="549" y="378"/>
                      <a:pt x="544" y="382"/>
                      <a:pt x="544" y="388"/>
                    </a:cubicBezTo>
                    <a:cubicBezTo>
                      <a:pt x="544" y="529"/>
                      <a:pt x="544" y="529"/>
                      <a:pt x="544" y="529"/>
                    </a:cubicBezTo>
                    <a:cubicBezTo>
                      <a:pt x="544" y="535"/>
                      <a:pt x="549" y="539"/>
                      <a:pt x="554" y="539"/>
                    </a:cubicBezTo>
                    <a:cubicBezTo>
                      <a:pt x="1018" y="539"/>
                      <a:pt x="1018" y="539"/>
                      <a:pt x="1018" y="539"/>
                    </a:cubicBezTo>
                    <a:cubicBezTo>
                      <a:pt x="1023" y="539"/>
                      <a:pt x="1028" y="535"/>
                      <a:pt x="1028" y="529"/>
                    </a:cubicBezTo>
                    <a:close/>
                    <a:moveTo>
                      <a:pt x="1016" y="136"/>
                    </a:moveTo>
                    <a:cubicBezTo>
                      <a:pt x="1016" y="10"/>
                      <a:pt x="1016" y="10"/>
                      <a:pt x="1016" y="10"/>
                    </a:cubicBezTo>
                    <a:cubicBezTo>
                      <a:pt x="1016" y="4"/>
                      <a:pt x="1012" y="0"/>
                      <a:pt x="1006" y="0"/>
                    </a:cubicBezTo>
                    <a:cubicBezTo>
                      <a:pt x="566" y="0"/>
                      <a:pt x="566" y="0"/>
                      <a:pt x="566" y="0"/>
                    </a:cubicBezTo>
                    <a:cubicBezTo>
                      <a:pt x="560" y="0"/>
                      <a:pt x="556" y="4"/>
                      <a:pt x="556" y="10"/>
                    </a:cubicBezTo>
                    <a:cubicBezTo>
                      <a:pt x="556" y="136"/>
                      <a:pt x="556" y="136"/>
                      <a:pt x="556" y="136"/>
                    </a:cubicBezTo>
                    <a:cubicBezTo>
                      <a:pt x="556" y="142"/>
                      <a:pt x="560" y="146"/>
                      <a:pt x="566" y="146"/>
                    </a:cubicBezTo>
                    <a:cubicBezTo>
                      <a:pt x="1006" y="146"/>
                      <a:pt x="1006" y="146"/>
                      <a:pt x="1006" y="146"/>
                    </a:cubicBezTo>
                    <a:cubicBezTo>
                      <a:pt x="1012" y="146"/>
                      <a:pt x="1016" y="142"/>
                      <a:pt x="1016" y="136"/>
                    </a:cubicBezTo>
                    <a:close/>
                    <a:moveTo>
                      <a:pt x="676" y="638"/>
                    </a:moveTo>
                    <a:cubicBezTo>
                      <a:pt x="676" y="617"/>
                      <a:pt x="676" y="617"/>
                      <a:pt x="676" y="617"/>
                    </a:cubicBezTo>
                    <a:cubicBezTo>
                      <a:pt x="676" y="605"/>
                      <a:pt x="666" y="595"/>
                      <a:pt x="654" y="595"/>
                    </a:cubicBezTo>
                    <a:cubicBezTo>
                      <a:pt x="594" y="595"/>
                      <a:pt x="594" y="595"/>
                      <a:pt x="594" y="595"/>
                    </a:cubicBezTo>
                    <a:cubicBezTo>
                      <a:pt x="582" y="595"/>
                      <a:pt x="572" y="605"/>
                      <a:pt x="572" y="617"/>
                    </a:cubicBezTo>
                    <a:cubicBezTo>
                      <a:pt x="572" y="638"/>
                      <a:pt x="572" y="638"/>
                      <a:pt x="572" y="638"/>
                    </a:cubicBezTo>
                    <a:cubicBezTo>
                      <a:pt x="572" y="650"/>
                      <a:pt x="582" y="660"/>
                      <a:pt x="594" y="660"/>
                    </a:cubicBezTo>
                    <a:cubicBezTo>
                      <a:pt x="654" y="660"/>
                      <a:pt x="654" y="660"/>
                      <a:pt x="654" y="660"/>
                    </a:cubicBezTo>
                    <a:cubicBezTo>
                      <a:pt x="666" y="660"/>
                      <a:pt x="676" y="650"/>
                      <a:pt x="676" y="638"/>
                    </a:cubicBezTo>
                    <a:close/>
                    <a:moveTo>
                      <a:pt x="843" y="638"/>
                    </a:moveTo>
                    <a:cubicBezTo>
                      <a:pt x="843" y="617"/>
                      <a:pt x="843" y="617"/>
                      <a:pt x="843" y="617"/>
                    </a:cubicBezTo>
                    <a:cubicBezTo>
                      <a:pt x="843" y="605"/>
                      <a:pt x="833" y="595"/>
                      <a:pt x="821" y="595"/>
                    </a:cubicBezTo>
                    <a:cubicBezTo>
                      <a:pt x="760" y="595"/>
                      <a:pt x="760" y="595"/>
                      <a:pt x="760" y="595"/>
                    </a:cubicBezTo>
                    <a:cubicBezTo>
                      <a:pt x="748" y="595"/>
                      <a:pt x="738" y="605"/>
                      <a:pt x="738" y="617"/>
                    </a:cubicBezTo>
                    <a:cubicBezTo>
                      <a:pt x="738" y="638"/>
                      <a:pt x="738" y="638"/>
                      <a:pt x="738" y="638"/>
                    </a:cubicBezTo>
                    <a:cubicBezTo>
                      <a:pt x="738" y="650"/>
                      <a:pt x="748" y="660"/>
                      <a:pt x="760" y="660"/>
                    </a:cubicBezTo>
                    <a:cubicBezTo>
                      <a:pt x="821" y="660"/>
                      <a:pt x="821" y="660"/>
                      <a:pt x="821" y="660"/>
                    </a:cubicBezTo>
                    <a:cubicBezTo>
                      <a:pt x="833" y="660"/>
                      <a:pt x="843" y="650"/>
                      <a:pt x="843" y="638"/>
                    </a:cubicBezTo>
                    <a:close/>
                    <a:moveTo>
                      <a:pt x="676" y="752"/>
                    </a:moveTo>
                    <a:cubicBezTo>
                      <a:pt x="676" y="731"/>
                      <a:pt x="676" y="731"/>
                      <a:pt x="676" y="731"/>
                    </a:cubicBezTo>
                    <a:cubicBezTo>
                      <a:pt x="676" y="719"/>
                      <a:pt x="666" y="709"/>
                      <a:pt x="654" y="709"/>
                    </a:cubicBezTo>
                    <a:cubicBezTo>
                      <a:pt x="594" y="709"/>
                      <a:pt x="594" y="709"/>
                      <a:pt x="594" y="709"/>
                    </a:cubicBezTo>
                    <a:cubicBezTo>
                      <a:pt x="582" y="709"/>
                      <a:pt x="572" y="719"/>
                      <a:pt x="572" y="731"/>
                    </a:cubicBezTo>
                    <a:cubicBezTo>
                      <a:pt x="572" y="752"/>
                      <a:pt x="572" y="752"/>
                      <a:pt x="572" y="752"/>
                    </a:cubicBezTo>
                    <a:cubicBezTo>
                      <a:pt x="572" y="764"/>
                      <a:pt x="582" y="774"/>
                      <a:pt x="594" y="774"/>
                    </a:cubicBezTo>
                    <a:cubicBezTo>
                      <a:pt x="654" y="774"/>
                      <a:pt x="654" y="774"/>
                      <a:pt x="654" y="774"/>
                    </a:cubicBezTo>
                    <a:cubicBezTo>
                      <a:pt x="666" y="774"/>
                      <a:pt x="676" y="764"/>
                      <a:pt x="676" y="752"/>
                    </a:cubicBezTo>
                    <a:close/>
                    <a:moveTo>
                      <a:pt x="843" y="752"/>
                    </a:moveTo>
                    <a:cubicBezTo>
                      <a:pt x="843" y="731"/>
                      <a:pt x="843" y="731"/>
                      <a:pt x="843" y="731"/>
                    </a:cubicBezTo>
                    <a:cubicBezTo>
                      <a:pt x="843" y="719"/>
                      <a:pt x="833" y="709"/>
                      <a:pt x="821" y="709"/>
                    </a:cubicBezTo>
                    <a:cubicBezTo>
                      <a:pt x="760" y="709"/>
                      <a:pt x="760" y="709"/>
                      <a:pt x="760" y="709"/>
                    </a:cubicBezTo>
                    <a:cubicBezTo>
                      <a:pt x="748" y="709"/>
                      <a:pt x="738" y="719"/>
                      <a:pt x="738" y="731"/>
                    </a:cubicBezTo>
                    <a:cubicBezTo>
                      <a:pt x="738" y="752"/>
                      <a:pt x="738" y="752"/>
                      <a:pt x="738" y="752"/>
                    </a:cubicBezTo>
                    <a:cubicBezTo>
                      <a:pt x="738" y="764"/>
                      <a:pt x="748" y="774"/>
                      <a:pt x="760" y="774"/>
                    </a:cubicBezTo>
                    <a:cubicBezTo>
                      <a:pt x="821" y="774"/>
                      <a:pt x="821" y="774"/>
                      <a:pt x="821" y="774"/>
                    </a:cubicBezTo>
                    <a:cubicBezTo>
                      <a:pt x="833" y="774"/>
                      <a:pt x="843" y="764"/>
                      <a:pt x="843" y="752"/>
                    </a:cubicBezTo>
                    <a:close/>
                    <a:moveTo>
                      <a:pt x="676" y="866"/>
                    </a:moveTo>
                    <a:cubicBezTo>
                      <a:pt x="676" y="845"/>
                      <a:pt x="676" y="845"/>
                      <a:pt x="676" y="845"/>
                    </a:cubicBezTo>
                    <a:cubicBezTo>
                      <a:pt x="676" y="833"/>
                      <a:pt x="666" y="823"/>
                      <a:pt x="654" y="823"/>
                    </a:cubicBezTo>
                    <a:cubicBezTo>
                      <a:pt x="594" y="823"/>
                      <a:pt x="594" y="823"/>
                      <a:pt x="594" y="823"/>
                    </a:cubicBezTo>
                    <a:cubicBezTo>
                      <a:pt x="582" y="823"/>
                      <a:pt x="572" y="833"/>
                      <a:pt x="572" y="845"/>
                    </a:cubicBezTo>
                    <a:cubicBezTo>
                      <a:pt x="572" y="866"/>
                      <a:pt x="572" y="866"/>
                      <a:pt x="572" y="866"/>
                    </a:cubicBezTo>
                    <a:cubicBezTo>
                      <a:pt x="572" y="878"/>
                      <a:pt x="582" y="888"/>
                      <a:pt x="594" y="888"/>
                    </a:cubicBezTo>
                    <a:cubicBezTo>
                      <a:pt x="654" y="888"/>
                      <a:pt x="654" y="888"/>
                      <a:pt x="654" y="888"/>
                    </a:cubicBezTo>
                    <a:cubicBezTo>
                      <a:pt x="666" y="888"/>
                      <a:pt x="676" y="878"/>
                      <a:pt x="676" y="866"/>
                    </a:cubicBezTo>
                    <a:close/>
                    <a:moveTo>
                      <a:pt x="843" y="866"/>
                    </a:moveTo>
                    <a:cubicBezTo>
                      <a:pt x="843" y="845"/>
                      <a:pt x="843" y="845"/>
                      <a:pt x="843" y="845"/>
                    </a:cubicBezTo>
                    <a:cubicBezTo>
                      <a:pt x="843" y="833"/>
                      <a:pt x="833" y="823"/>
                      <a:pt x="821" y="823"/>
                    </a:cubicBezTo>
                    <a:cubicBezTo>
                      <a:pt x="760" y="823"/>
                      <a:pt x="760" y="823"/>
                      <a:pt x="760" y="823"/>
                    </a:cubicBezTo>
                    <a:cubicBezTo>
                      <a:pt x="748" y="823"/>
                      <a:pt x="738" y="833"/>
                      <a:pt x="738" y="845"/>
                    </a:cubicBezTo>
                    <a:cubicBezTo>
                      <a:pt x="738" y="866"/>
                      <a:pt x="738" y="866"/>
                      <a:pt x="738" y="866"/>
                    </a:cubicBezTo>
                    <a:cubicBezTo>
                      <a:pt x="738" y="878"/>
                      <a:pt x="748" y="888"/>
                      <a:pt x="760" y="888"/>
                    </a:cubicBezTo>
                    <a:cubicBezTo>
                      <a:pt x="821" y="888"/>
                      <a:pt x="821" y="888"/>
                      <a:pt x="821" y="888"/>
                    </a:cubicBezTo>
                    <a:cubicBezTo>
                      <a:pt x="833" y="888"/>
                      <a:pt x="843" y="878"/>
                      <a:pt x="843" y="866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30" name="Freeform 26">
                <a:extLst>
                  <a:ext uri="{FF2B5EF4-FFF2-40B4-BE49-F238E27FC236}">
                    <a16:creationId xmlns:a16="http://schemas.microsoft.com/office/drawing/2014/main" id="{BB833497-D78A-4A47-B740-DCACD718D5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8" y="711"/>
                <a:ext cx="3380" cy="2885"/>
              </a:xfrm>
              <a:custGeom>
                <a:avLst/>
                <a:gdLst>
                  <a:gd name="T0" fmla="*/ 23 w 1804"/>
                  <a:gd name="T1" fmla="*/ 1178 h 1539"/>
                  <a:gd name="T2" fmla="*/ 1 w 1804"/>
                  <a:gd name="T3" fmla="*/ 1517 h 1539"/>
                  <a:gd name="T4" fmla="*/ 1781 w 1804"/>
                  <a:gd name="T5" fmla="*/ 1539 h 1539"/>
                  <a:gd name="T6" fmla="*/ 1803 w 1804"/>
                  <a:gd name="T7" fmla="*/ 1200 h 1539"/>
                  <a:gd name="T8" fmla="*/ 902 w 1804"/>
                  <a:gd name="T9" fmla="*/ 1413 h 1539"/>
                  <a:gd name="T10" fmla="*/ 902 w 1804"/>
                  <a:gd name="T11" fmla="*/ 1303 h 1539"/>
                  <a:gd name="T12" fmla="*/ 902 w 1804"/>
                  <a:gd name="T13" fmla="*/ 1413 h 1539"/>
                  <a:gd name="T14" fmla="*/ 1684 w 1804"/>
                  <a:gd name="T15" fmla="*/ 605 h 1539"/>
                  <a:gd name="T16" fmla="*/ 1662 w 1804"/>
                  <a:gd name="T17" fmla="*/ 319 h 1539"/>
                  <a:gd name="T18" fmla="*/ 1355 w 1804"/>
                  <a:gd name="T19" fmla="*/ 288 h 1539"/>
                  <a:gd name="T20" fmla="*/ 1547 w 1804"/>
                  <a:gd name="T21" fmla="*/ 266 h 1539"/>
                  <a:gd name="T22" fmla="*/ 1525 w 1804"/>
                  <a:gd name="T23" fmla="*/ 0 h 1539"/>
                  <a:gd name="T24" fmla="*/ 943 w 1804"/>
                  <a:gd name="T25" fmla="*/ 22 h 1539"/>
                  <a:gd name="T26" fmla="*/ 965 w 1804"/>
                  <a:gd name="T27" fmla="*/ 288 h 1539"/>
                  <a:gd name="T28" fmla="*/ 1135 w 1804"/>
                  <a:gd name="T29" fmla="*/ 319 h 1539"/>
                  <a:gd name="T30" fmla="*/ 828 w 1804"/>
                  <a:gd name="T31" fmla="*/ 363 h 1539"/>
                  <a:gd name="T32" fmla="*/ 1640 w 1804"/>
                  <a:gd name="T33" fmla="*/ 608 h 1539"/>
                  <a:gd name="T34" fmla="*/ 1760 w 1804"/>
                  <a:gd name="T35" fmla="*/ 979 h 1539"/>
                  <a:gd name="T36" fmla="*/ 44 w 1804"/>
                  <a:gd name="T37" fmla="*/ 1103 h 1539"/>
                  <a:gd name="T38" fmla="*/ 163 w 1804"/>
                  <a:gd name="T39" fmla="*/ 615 h 1539"/>
                  <a:gd name="T40" fmla="*/ 164 w 1804"/>
                  <a:gd name="T41" fmla="*/ 363 h 1539"/>
                  <a:gd name="T42" fmla="*/ 331 w 1804"/>
                  <a:gd name="T43" fmla="*/ 319 h 1539"/>
                  <a:gd name="T44" fmla="*/ 120 w 1804"/>
                  <a:gd name="T45" fmla="*/ 341 h 1539"/>
                  <a:gd name="T46" fmla="*/ 1 w 1804"/>
                  <a:gd name="T47" fmla="*/ 969 h 1539"/>
                  <a:gd name="T48" fmla="*/ 0 w 1804"/>
                  <a:gd name="T49" fmla="*/ 1125 h 1539"/>
                  <a:gd name="T50" fmla="*/ 1782 w 1804"/>
                  <a:gd name="T51" fmla="*/ 1147 h 1539"/>
                  <a:gd name="T52" fmla="*/ 1804 w 1804"/>
                  <a:gd name="T53" fmla="*/ 976 h 1539"/>
                  <a:gd name="T54" fmla="*/ 987 w 1804"/>
                  <a:gd name="T55" fmla="*/ 44 h 1539"/>
                  <a:gd name="T56" fmla="*/ 1503 w 1804"/>
                  <a:gd name="T57" fmla="*/ 244 h 1539"/>
                  <a:gd name="T58" fmla="*/ 987 w 1804"/>
                  <a:gd name="T59" fmla="*/ 44 h 1539"/>
                  <a:gd name="T60" fmla="*/ 828 w 1804"/>
                  <a:gd name="T61" fmla="*/ 649 h 1539"/>
                  <a:gd name="T62" fmla="*/ 820 w 1804"/>
                  <a:gd name="T63" fmla="*/ 679 h 1539"/>
                  <a:gd name="T64" fmla="*/ 784 w 1804"/>
                  <a:gd name="T65" fmla="*/ 144 h 1539"/>
                  <a:gd name="T66" fmla="*/ 397 w 1804"/>
                  <a:gd name="T67" fmla="*/ 122 h 1539"/>
                  <a:gd name="T68" fmla="*/ 375 w 1804"/>
                  <a:gd name="T69" fmla="*/ 679 h 1539"/>
                  <a:gd name="T70" fmla="*/ 323 w 1804"/>
                  <a:gd name="T71" fmla="*/ 663 h 1539"/>
                  <a:gd name="T72" fmla="*/ 331 w 1804"/>
                  <a:gd name="T73" fmla="*/ 604 h 1539"/>
                  <a:gd name="T74" fmla="*/ 339 w 1804"/>
                  <a:gd name="T75" fmla="*/ 723 h 1539"/>
                  <a:gd name="T76" fmla="*/ 762 w 1804"/>
                  <a:gd name="T77" fmla="*/ 723 h 1539"/>
                  <a:gd name="T78" fmla="*/ 880 w 1804"/>
                  <a:gd name="T79" fmla="*/ 663 h 1539"/>
                  <a:gd name="T80" fmla="*/ 740 w 1804"/>
                  <a:gd name="T81" fmla="*/ 679 h 1539"/>
                  <a:gd name="T82" fmla="*/ 419 w 1804"/>
                  <a:gd name="T83" fmla="*/ 166 h 1539"/>
                  <a:gd name="T84" fmla="*/ 740 w 1804"/>
                  <a:gd name="T85" fmla="*/ 679 h 1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04" h="1539">
                    <a:moveTo>
                      <a:pt x="1781" y="1178"/>
                    </a:moveTo>
                    <a:cubicBezTo>
                      <a:pt x="23" y="1178"/>
                      <a:pt x="23" y="1178"/>
                      <a:pt x="23" y="1178"/>
                    </a:cubicBezTo>
                    <a:cubicBezTo>
                      <a:pt x="11" y="1178"/>
                      <a:pt x="1" y="1188"/>
                      <a:pt x="1" y="1200"/>
                    </a:cubicBezTo>
                    <a:cubicBezTo>
                      <a:pt x="1" y="1517"/>
                      <a:pt x="1" y="1517"/>
                      <a:pt x="1" y="1517"/>
                    </a:cubicBezTo>
                    <a:cubicBezTo>
                      <a:pt x="1" y="1529"/>
                      <a:pt x="11" y="1539"/>
                      <a:pt x="23" y="1539"/>
                    </a:cubicBezTo>
                    <a:cubicBezTo>
                      <a:pt x="1781" y="1539"/>
                      <a:pt x="1781" y="1539"/>
                      <a:pt x="1781" y="1539"/>
                    </a:cubicBezTo>
                    <a:cubicBezTo>
                      <a:pt x="1793" y="1539"/>
                      <a:pt x="1803" y="1529"/>
                      <a:pt x="1803" y="1517"/>
                    </a:cubicBezTo>
                    <a:cubicBezTo>
                      <a:pt x="1803" y="1200"/>
                      <a:pt x="1803" y="1200"/>
                      <a:pt x="1803" y="1200"/>
                    </a:cubicBezTo>
                    <a:cubicBezTo>
                      <a:pt x="1803" y="1188"/>
                      <a:pt x="1793" y="1178"/>
                      <a:pt x="1781" y="1178"/>
                    </a:cubicBezTo>
                    <a:close/>
                    <a:moveTo>
                      <a:pt x="902" y="1413"/>
                    </a:moveTo>
                    <a:cubicBezTo>
                      <a:pt x="872" y="1413"/>
                      <a:pt x="847" y="1389"/>
                      <a:pt x="847" y="1358"/>
                    </a:cubicBezTo>
                    <a:cubicBezTo>
                      <a:pt x="847" y="1328"/>
                      <a:pt x="872" y="1303"/>
                      <a:pt x="902" y="1303"/>
                    </a:cubicBezTo>
                    <a:cubicBezTo>
                      <a:pt x="932" y="1303"/>
                      <a:pt x="957" y="1328"/>
                      <a:pt x="957" y="1358"/>
                    </a:cubicBezTo>
                    <a:cubicBezTo>
                      <a:pt x="957" y="1389"/>
                      <a:pt x="932" y="1413"/>
                      <a:pt x="902" y="1413"/>
                    </a:cubicBezTo>
                    <a:close/>
                    <a:moveTo>
                      <a:pt x="1803" y="969"/>
                    </a:moveTo>
                    <a:cubicBezTo>
                      <a:pt x="1684" y="605"/>
                      <a:pt x="1684" y="605"/>
                      <a:pt x="1684" y="605"/>
                    </a:cubicBezTo>
                    <a:cubicBezTo>
                      <a:pt x="1684" y="341"/>
                      <a:pt x="1684" y="341"/>
                      <a:pt x="1684" y="341"/>
                    </a:cubicBezTo>
                    <a:cubicBezTo>
                      <a:pt x="1684" y="329"/>
                      <a:pt x="1674" y="319"/>
                      <a:pt x="1662" y="319"/>
                    </a:cubicBezTo>
                    <a:cubicBezTo>
                      <a:pt x="1355" y="319"/>
                      <a:pt x="1355" y="319"/>
                      <a:pt x="1355" y="319"/>
                    </a:cubicBezTo>
                    <a:cubicBezTo>
                      <a:pt x="1355" y="288"/>
                      <a:pt x="1355" y="288"/>
                      <a:pt x="1355" y="288"/>
                    </a:cubicBezTo>
                    <a:cubicBezTo>
                      <a:pt x="1525" y="288"/>
                      <a:pt x="1525" y="288"/>
                      <a:pt x="1525" y="288"/>
                    </a:cubicBezTo>
                    <a:cubicBezTo>
                      <a:pt x="1537" y="288"/>
                      <a:pt x="1547" y="278"/>
                      <a:pt x="1547" y="266"/>
                    </a:cubicBezTo>
                    <a:cubicBezTo>
                      <a:pt x="1547" y="22"/>
                      <a:pt x="1547" y="22"/>
                      <a:pt x="1547" y="22"/>
                    </a:cubicBezTo>
                    <a:cubicBezTo>
                      <a:pt x="1547" y="10"/>
                      <a:pt x="1537" y="0"/>
                      <a:pt x="1525" y="0"/>
                    </a:cubicBezTo>
                    <a:cubicBezTo>
                      <a:pt x="965" y="0"/>
                      <a:pt x="965" y="0"/>
                      <a:pt x="965" y="0"/>
                    </a:cubicBezTo>
                    <a:cubicBezTo>
                      <a:pt x="953" y="0"/>
                      <a:pt x="943" y="10"/>
                      <a:pt x="943" y="22"/>
                    </a:cubicBezTo>
                    <a:cubicBezTo>
                      <a:pt x="943" y="266"/>
                      <a:pt x="943" y="266"/>
                      <a:pt x="943" y="266"/>
                    </a:cubicBezTo>
                    <a:cubicBezTo>
                      <a:pt x="943" y="278"/>
                      <a:pt x="953" y="288"/>
                      <a:pt x="965" y="288"/>
                    </a:cubicBezTo>
                    <a:cubicBezTo>
                      <a:pt x="1135" y="288"/>
                      <a:pt x="1135" y="288"/>
                      <a:pt x="1135" y="288"/>
                    </a:cubicBezTo>
                    <a:cubicBezTo>
                      <a:pt x="1135" y="319"/>
                      <a:pt x="1135" y="319"/>
                      <a:pt x="1135" y="319"/>
                    </a:cubicBezTo>
                    <a:cubicBezTo>
                      <a:pt x="828" y="319"/>
                      <a:pt x="828" y="319"/>
                      <a:pt x="828" y="319"/>
                    </a:cubicBezTo>
                    <a:cubicBezTo>
                      <a:pt x="828" y="363"/>
                      <a:pt x="828" y="363"/>
                      <a:pt x="828" y="363"/>
                    </a:cubicBezTo>
                    <a:cubicBezTo>
                      <a:pt x="1640" y="363"/>
                      <a:pt x="1640" y="363"/>
                      <a:pt x="1640" y="363"/>
                    </a:cubicBezTo>
                    <a:cubicBezTo>
                      <a:pt x="1640" y="608"/>
                      <a:pt x="1640" y="608"/>
                      <a:pt x="1640" y="608"/>
                    </a:cubicBezTo>
                    <a:cubicBezTo>
                      <a:pt x="1640" y="610"/>
                      <a:pt x="1640" y="613"/>
                      <a:pt x="1641" y="615"/>
                    </a:cubicBezTo>
                    <a:cubicBezTo>
                      <a:pt x="1760" y="979"/>
                      <a:pt x="1760" y="979"/>
                      <a:pt x="1760" y="979"/>
                    </a:cubicBezTo>
                    <a:cubicBezTo>
                      <a:pt x="1760" y="1103"/>
                      <a:pt x="1760" y="1103"/>
                      <a:pt x="1760" y="1103"/>
                    </a:cubicBezTo>
                    <a:cubicBezTo>
                      <a:pt x="44" y="1103"/>
                      <a:pt x="44" y="1103"/>
                      <a:pt x="44" y="1103"/>
                    </a:cubicBezTo>
                    <a:cubicBezTo>
                      <a:pt x="44" y="979"/>
                      <a:pt x="44" y="979"/>
                      <a:pt x="44" y="979"/>
                    </a:cubicBezTo>
                    <a:cubicBezTo>
                      <a:pt x="163" y="615"/>
                      <a:pt x="163" y="615"/>
                      <a:pt x="163" y="615"/>
                    </a:cubicBezTo>
                    <a:cubicBezTo>
                      <a:pt x="164" y="613"/>
                      <a:pt x="164" y="610"/>
                      <a:pt x="164" y="608"/>
                    </a:cubicBezTo>
                    <a:cubicBezTo>
                      <a:pt x="164" y="363"/>
                      <a:pt x="164" y="363"/>
                      <a:pt x="164" y="363"/>
                    </a:cubicBezTo>
                    <a:cubicBezTo>
                      <a:pt x="331" y="363"/>
                      <a:pt x="331" y="363"/>
                      <a:pt x="331" y="363"/>
                    </a:cubicBezTo>
                    <a:cubicBezTo>
                      <a:pt x="331" y="319"/>
                      <a:pt x="331" y="319"/>
                      <a:pt x="331" y="319"/>
                    </a:cubicBezTo>
                    <a:cubicBezTo>
                      <a:pt x="142" y="319"/>
                      <a:pt x="142" y="319"/>
                      <a:pt x="142" y="319"/>
                    </a:cubicBezTo>
                    <a:cubicBezTo>
                      <a:pt x="130" y="319"/>
                      <a:pt x="120" y="329"/>
                      <a:pt x="120" y="341"/>
                    </a:cubicBezTo>
                    <a:cubicBezTo>
                      <a:pt x="120" y="605"/>
                      <a:pt x="120" y="605"/>
                      <a:pt x="120" y="605"/>
                    </a:cubicBezTo>
                    <a:cubicBezTo>
                      <a:pt x="1" y="969"/>
                      <a:pt x="1" y="969"/>
                      <a:pt x="1" y="969"/>
                    </a:cubicBezTo>
                    <a:cubicBezTo>
                      <a:pt x="0" y="971"/>
                      <a:pt x="0" y="974"/>
                      <a:pt x="0" y="976"/>
                    </a:cubicBezTo>
                    <a:cubicBezTo>
                      <a:pt x="0" y="1125"/>
                      <a:pt x="0" y="1125"/>
                      <a:pt x="0" y="1125"/>
                    </a:cubicBezTo>
                    <a:cubicBezTo>
                      <a:pt x="0" y="1137"/>
                      <a:pt x="10" y="1147"/>
                      <a:pt x="22" y="1147"/>
                    </a:cubicBezTo>
                    <a:cubicBezTo>
                      <a:pt x="1782" y="1147"/>
                      <a:pt x="1782" y="1147"/>
                      <a:pt x="1782" y="1147"/>
                    </a:cubicBezTo>
                    <a:cubicBezTo>
                      <a:pt x="1794" y="1147"/>
                      <a:pt x="1804" y="1137"/>
                      <a:pt x="1804" y="1125"/>
                    </a:cubicBezTo>
                    <a:cubicBezTo>
                      <a:pt x="1804" y="976"/>
                      <a:pt x="1804" y="976"/>
                      <a:pt x="1804" y="976"/>
                    </a:cubicBezTo>
                    <a:cubicBezTo>
                      <a:pt x="1804" y="974"/>
                      <a:pt x="1804" y="971"/>
                      <a:pt x="1803" y="969"/>
                    </a:cubicBezTo>
                    <a:close/>
                    <a:moveTo>
                      <a:pt x="987" y="44"/>
                    </a:moveTo>
                    <a:cubicBezTo>
                      <a:pt x="1503" y="44"/>
                      <a:pt x="1503" y="44"/>
                      <a:pt x="1503" y="44"/>
                    </a:cubicBezTo>
                    <a:cubicBezTo>
                      <a:pt x="1503" y="244"/>
                      <a:pt x="1503" y="244"/>
                      <a:pt x="1503" y="244"/>
                    </a:cubicBezTo>
                    <a:cubicBezTo>
                      <a:pt x="987" y="244"/>
                      <a:pt x="987" y="244"/>
                      <a:pt x="987" y="244"/>
                    </a:cubicBezTo>
                    <a:lnTo>
                      <a:pt x="987" y="44"/>
                    </a:lnTo>
                    <a:close/>
                    <a:moveTo>
                      <a:pt x="828" y="604"/>
                    </a:moveTo>
                    <a:cubicBezTo>
                      <a:pt x="828" y="649"/>
                      <a:pt x="828" y="649"/>
                      <a:pt x="828" y="649"/>
                    </a:cubicBezTo>
                    <a:cubicBezTo>
                      <a:pt x="833" y="652"/>
                      <a:pt x="836" y="657"/>
                      <a:pt x="836" y="663"/>
                    </a:cubicBezTo>
                    <a:cubicBezTo>
                      <a:pt x="836" y="672"/>
                      <a:pt x="829" y="679"/>
                      <a:pt x="820" y="679"/>
                    </a:cubicBezTo>
                    <a:cubicBezTo>
                      <a:pt x="784" y="679"/>
                      <a:pt x="784" y="679"/>
                      <a:pt x="784" y="679"/>
                    </a:cubicBezTo>
                    <a:cubicBezTo>
                      <a:pt x="784" y="144"/>
                      <a:pt x="784" y="144"/>
                      <a:pt x="784" y="144"/>
                    </a:cubicBezTo>
                    <a:cubicBezTo>
                      <a:pt x="784" y="132"/>
                      <a:pt x="774" y="122"/>
                      <a:pt x="762" y="122"/>
                    </a:cubicBezTo>
                    <a:cubicBezTo>
                      <a:pt x="397" y="122"/>
                      <a:pt x="397" y="122"/>
                      <a:pt x="397" y="122"/>
                    </a:cubicBezTo>
                    <a:cubicBezTo>
                      <a:pt x="385" y="122"/>
                      <a:pt x="375" y="132"/>
                      <a:pt x="375" y="144"/>
                    </a:cubicBezTo>
                    <a:cubicBezTo>
                      <a:pt x="375" y="679"/>
                      <a:pt x="375" y="679"/>
                      <a:pt x="375" y="679"/>
                    </a:cubicBezTo>
                    <a:cubicBezTo>
                      <a:pt x="339" y="679"/>
                      <a:pt x="339" y="679"/>
                      <a:pt x="339" y="679"/>
                    </a:cubicBezTo>
                    <a:cubicBezTo>
                      <a:pt x="330" y="679"/>
                      <a:pt x="323" y="672"/>
                      <a:pt x="323" y="663"/>
                    </a:cubicBezTo>
                    <a:cubicBezTo>
                      <a:pt x="323" y="657"/>
                      <a:pt x="326" y="652"/>
                      <a:pt x="331" y="649"/>
                    </a:cubicBezTo>
                    <a:cubicBezTo>
                      <a:pt x="331" y="604"/>
                      <a:pt x="331" y="604"/>
                      <a:pt x="331" y="604"/>
                    </a:cubicBezTo>
                    <a:cubicBezTo>
                      <a:pt x="301" y="608"/>
                      <a:pt x="279" y="633"/>
                      <a:pt x="279" y="663"/>
                    </a:cubicBezTo>
                    <a:cubicBezTo>
                      <a:pt x="279" y="696"/>
                      <a:pt x="306" y="723"/>
                      <a:pt x="339" y="723"/>
                    </a:cubicBezTo>
                    <a:cubicBezTo>
                      <a:pt x="397" y="723"/>
                      <a:pt x="397" y="723"/>
                      <a:pt x="397" y="723"/>
                    </a:cubicBezTo>
                    <a:cubicBezTo>
                      <a:pt x="762" y="723"/>
                      <a:pt x="762" y="723"/>
                      <a:pt x="762" y="723"/>
                    </a:cubicBezTo>
                    <a:cubicBezTo>
                      <a:pt x="820" y="723"/>
                      <a:pt x="820" y="723"/>
                      <a:pt x="820" y="723"/>
                    </a:cubicBezTo>
                    <a:cubicBezTo>
                      <a:pt x="853" y="723"/>
                      <a:pt x="880" y="696"/>
                      <a:pt x="880" y="663"/>
                    </a:cubicBezTo>
                    <a:cubicBezTo>
                      <a:pt x="880" y="633"/>
                      <a:pt x="857" y="608"/>
                      <a:pt x="828" y="604"/>
                    </a:cubicBezTo>
                    <a:close/>
                    <a:moveTo>
                      <a:pt x="740" y="679"/>
                    </a:moveTo>
                    <a:cubicBezTo>
                      <a:pt x="419" y="679"/>
                      <a:pt x="419" y="679"/>
                      <a:pt x="419" y="679"/>
                    </a:cubicBezTo>
                    <a:cubicBezTo>
                      <a:pt x="419" y="166"/>
                      <a:pt x="419" y="166"/>
                      <a:pt x="419" y="166"/>
                    </a:cubicBezTo>
                    <a:cubicBezTo>
                      <a:pt x="740" y="166"/>
                      <a:pt x="740" y="166"/>
                      <a:pt x="740" y="166"/>
                    </a:cubicBezTo>
                    <a:lnTo>
                      <a:pt x="740" y="679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50" name="Group 149"/>
          <p:cNvGrpSpPr/>
          <p:nvPr/>
        </p:nvGrpSpPr>
        <p:grpSpPr>
          <a:xfrm>
            <a:off x="10038724" y="4369318"/>
            <a:ext cx="1127654" cy="1127656"/>
            <a:chOff x="9930769" y="4234235"/>
            <a:chExt cx="1127654" cy="1127656"/>
          </a:xfrm>
        </p:grpSpPr>
        <p:sp>
          <p:nvSpPr>
            <p:cNvPr id="11" name="Oval 10"/>
            <p:cNvSpPr/>
            <p:nvPr/>
          </p:nvSpPr>
          <p:spPr>
            <a:xfrm>
              <a:off x="9930769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31" name="Group 30"/>
            <p:cNvGrpSpPr>
              <a:grpSpLocks noChangeAspect="1"/>
            </p:cNvGrpSpPr>
            <p:nvPr/>
          </p:nvGrpSpPr>
          <p:grpSpPr>
            <a:xfrm>
              <a:off x="10083116" y="4386583"/>
              <a:ext cx="822960" cy="822960"/>
              <a:chOff x="5273040" y="2606040"/>
              <a:chExt cx="1645920" cy="1645920"/>
            </a:xfrm>
          </p:grpSpPr>
          <p:sp>
            <p:nvSpPr>
              <p:cNvPr id="3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040" y="2606040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grpSp>
            <p:nvGrpSpPr>
              <p:cNvPr id="33" name="Group 32"/>
              <p:cNvGrpSpPr/>
              <p:nvPr/>
            </p:nvGrpSpPr>
            <p:grpSpPr>
              <a:xfrm>
                <a:off x="5806821" y="2881122"/>
                <a:ext cx="578358" cy="1095756"/>
                <a:chOff x="5806821" y="2881122"/>
                <a:chExt cx="578358" cy="1095756"/>
              </a:xfrm>
            </p:grpSpPr>
            <p:sp>
              <p:nvSpPr>
                <p:cNvPr id="34" name="Freeform 33"/>
                <p:cNvSpPr>
                  <a:spLocks/>
                </p:cNvSpPr>
                <p:nvPr/>
              </p:nvSpPr>
              <p:spPr bwMode="auto">
                <a:xfrm>
                  <a:off x="5806821" y="2881122"/>
                  <a:ext cx="578358" cy="1095756"/>
                </a:xfrm>
                <a:custGeom>
                  <a:avLst/>
                  <a:gdLst>
                    <a:gd name="connsiteX0" fmla="*/ 130175 w 2409825"/>
                    <a:gd name="connsiteY0" fmla="*/ 3871913 h 4565650"/>
                    <a:gd name="connsiteX1" fmla="*/ 130175 w 2409825"/>
                    <a:gd name="connsiteY1" fmla="*/ 4432301 h 4565650"/>
                    <a:gd name="connsiteX2" fmla="*/ 2279650 w 2409825"/>
                    <a:gd name="connsiteY2" fmla="*/ 4432301 h 4565650"/>
                    <a:gd name="connsiteX3" fmla="*/ 2279650 w 2409825"/>
                    <a:gd name="connsiteY3" fmla="*/ 3871913 h 4565650"/>
                    <a:gd name="connsiteX4" fmla="*/ 130175 w 2409825"/>
                    <a:gd name="connsiteY4" fmla="*/ 3871913 h 4565650"/>
                    <a:gd name="connsiteX5" fmla="*/ 130175 w 2409825"/>
                    <a:gd name="connsiteY5" fmla="*/ 133350 h 4565650"/>
                    <a:gd name="connsiteX6" fmla="*/ 130175 w 2409825"/>
                    <a:gd name="connsiteY6" fmla="*/ 3741738 h 4565650"/>
                    <a:gd name="connsiteX7" fmla="*/ 2279650 w 2409825"/>
                    <a:gd name="connsiteY7" fmla="*/ 3741738 h 4565650"/>
                    <a:gd name="connsiteX8" fmla="*/ 2279650 w 2409825"/>
                    <a:gd name="connsiteY8" fmla="*/ 133350 h 4565650"/>
                    <a:gd name="connsiteX9" fmla="*/ 130175 w 2409825"/>
                    <a:gd name="connsiteY9" fmla="*/ 133350 h 4565650"/>
                    <a:gd name="connsiteX10" fmla="*/ 65452 w 2409825"/>
                    <a:gd name="connsiteY10" fmla="*/ 0 h 4565650"/>
                    <a:gd name="connsiteX11" fmla="*/ 2344373 w 2409825"/>
                    <a:gd name="connsiteY11" fmla="*/ 0 h 4565650"/>
                    <a:gd name="connsiteX12" fmla="*/ 2409825 w 2409825"/>
                    <a:gd name="connsiteY12" fmla="*/ 65479 h 4565650"/>
                    <a:gd name="connsiteX13" fmla="*/ 2409825 w 2409825"/>
                    <a:gd name="connsiteY13" fmla="*/ 3741214 h 4565650"/>
                    <a:gd name="connsiteX14" fmla="*/ 2409825 w 2409825"/>
                    <a:gd name="connsiteY14" fmla="*/ 3872171 h 4565650"/>
                    <a:gd name="connsiteX15" fmla="*/ 2409825 w 2409825"/>
                    <a:gd name="connsiteY15" fmla="*/ 4500172 h 4565650"/>
                    <a:gd name="connsiteX16" fmla="*/ 2344373 w 2409825"/>
                    <a:gd name="connsiteY16" fmla="*/ 4565650 h 4565650"/>
                    <a:gd name="connsiteX17" fmla="*/ 65452 w 2409825"/>
                    <a:gd name="connsiteY17" fmla="*/ 4565650 h 4565650"/>
                    <a:gd name="connsiteX18" fmla="*/ 0 w 2409825"/>
                    <a:gd name="connsiteY18" fmla="*/ 4500172 h 4565650"/>
                    <a:gd name="connsiteX19" fmla="*/ 0 w 2409825"/>
                    <a:gd name="connsiteY19" fmla="*/ 3872171 h 4565650"/>
                    <a:gd name="connsiteX20" fmla="*/ 0 w 2409825"/>
                    <a:gd name="connsiteY20" fmla="*/ 3741214 h 4565650"/>
                    <a:gd name="connsiteX21" fmla="*/ 0 w 2409825"/>
                    <a:gd name="connsiteY21" fmla="*/ 65479 h 4565650"/>
                    <a:gd name="connsiteX22" fmla="*/ 65452 w 2409825"/>
                    <a:gd name="connsiteY22" fmla="*/ 0 h 4565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409825" h="4565650">
                      <a:moveTo>
                        <a:pt x="130175" y="3871913"/>
                      </a:moveTo>
                      <a:cubicBezTo>
                        <a:pt x="130175" y="3871913"/>
                        <a:pt x="130175" y="3871913"/>
                        <a:pt x="130175" y="4432301"/>
                      </a:cubicBezTo>
                      <a:cubicBezTo>
                        <a:pt x="130175" y="4432301"/>
                        <a:pt x="130175" y="4432301"/>
                        <a:pt x="2279650" y="4432301"/>
                      </a:cubicBezTo>
                      <a:cubicBezTo>
                        <a:pt x="2279650" y="4432301"/>
                        <a:pt x="2279650" y="4432301"/>
                        <a:pt x="2279650" y="3871913"/>
                      </a:cubicBezTo>
                      <a:cubicBezTo>
                        <a:pt x="2279650" y="3871913"/>
                        <a:pt x="2279650" y="3871913"/>
                        <a:pt x="130175" y="3871913"/>
                      </a:cubicBezTo>
                      <a:close/>
                      <a:moveTo>
                        <a:pt x="130175" y="133350"/>
                      </a:moveTo>
                      <a:cubicBezTo>
                        <a:pt x="130175" y="133350"/>
                        <a:pt x="130175" y="133350"/>
                        <a:pt x="130175" y="3741738"/>
                      </a:cubicBezTo>
                      <a:cubicBezTo>
                        <a:pt x="130175" y="3741738"/>
                        <a:pt x="130175" y="3741738"/>
                        <a:pt x="2279650" y="3741738"/>
                      </a:cubicBezTo>
                      <a:cubicBezTo>
                        <a:pt x="2279650" y="3741738"/>
                        <a:pt x="2279650" y="3741738"/>
                        <a:pt x="2279650" y="133350"/>
                      </a:cubicBezTo>
                      <a:cubicBezTo>
                        <a:pt x="2279650" y="133350"/>
                        <a:pt x="2279650" y="133350"/>
                        <a:pt x="130175" y="133350"/>
                      </a:cubicBezTo>
                      <a:close/>
                      <a:moveTo>
                        <a:pt x="65452" y="0"/>
                      </a:moveTo>
                      <a:cubicBezTo>
                        <a:pt x="65452" y="0"/>
                        <a:pt x="65452" y="0"/>
                        <a:pt x="2344373" y="0"/>
                      </a:cubicBezTo>
                      <a:cubicBezTo>
                        <a:pt x="2380074" y="0"/>
                        <a:pt x="2409825" y="26787"/>
                        <a:pt x="2409825" y="65479"/>
                      </a:cubicBezTo>
                      <a:cubicBezTo>
                        <a:pt x="2409825" y="65479"/>
                        <a:pt x="2409825" y="65479"/>
                        <a:pt x="2409825" y="3741214"/>
                      </a:cubicBezTo>
                      <a:cubicBezTo>
                        <a:pt x="2409825" y="3741214"/>
                        <a:pt x="2409825" y="3741214"/>
                        <a:pt x="2409825" y="3872171"/>
                      </a:cubicBezTo>
                      <a:cubicBezTo>
                        <a:pt x="2409825" y="3872171"/>
                        <a:pt x="2409825" y="3872171"/>
                        <a:pt x="2409825" y="4500172"/>
                      </a:cubicBezTo>
                      <a:cubicBezTo>
                        <a:pt x="2409825" y="4535887"/>
                        <a:pt x="2380074" y="4565650"/>
                        <a:pt x="2344373" y="4565650"/>
                      </a:cubicBezTo>
                      <a:cubicBezTo>
                        <a:pt x="2344373" y="4565650"/>
                        <a:pt x="2344373" y="4565650"/>
                        <a:pt x="65452" y="4565650"/>
                      </a:cubicBezTo>
                      <a:cubicBezTo>
                        <a:pt x="26776" y="4565650"/>
                        <a:pt x="0" y="4535887"/>
                        <a:pt x="0" y="4500172"/>
                      </a:cubicBezTo>
                      <a:cubicBezTo>
                        <a:pt x="0" y="4500172"/>
                        <a:pt x="0" y="4500172"/>
                        <a:pt x="0" y="3872171"/>
                      </a:cubicBezTo>
                      <a:cubicBezTo>
                        <a:pt x="0" y="3872171"/>
                        <a:pt x="0" y="3872171"/>
                        <a:pt x="0" y="3741214"/>
                      </a:cubicBezTo>
                      <a:cubicBezTo>
                        <a:pt x="0" y="3741214"/>
                        <a:pt x="0" y="3741214"/>
                        <a:pt x="0" y="65479"/>
                      </a:cubicBezTo>
                      <a:cubicBezTo>
                        <a:pt x="0" y="26787"/>
                        <a:pt x="26776" y="0"/>
                        <a:pt x="65452" y="0"/>
                      </a:cubicBezTo>
                      <a:close/>
                    </a:path>
                  </a:pathLst>
                </a:custGeom>
                <a:solidFill>
                  <a:srgbClr val="595959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  <p:sp>
              <p:nvSpPr>
                <p:cNvPr id="35" name="Freeform 34"/>
                <p:cNvSpPr>
                  <a:spLocks noChangeArrowheads="1"/>
                </p:cNvSpPr>
                <p:nvPr/>
              </p:nvSpPr>
              <p:spPr bwMode="auto">
                <a:xfrm>
                  <a:off x="5865114" y="2953131"/>
                  <a:ext cx="457200" cy="962406"/>
                </a:xfrm>
                <a:custGeom>
                  <a:avLst/>
                  <a:gdLst>
                    <a:gd name="connsiteX0" fmla="*/ 956469 w 1905000"/>
                    <a:gd name="connsiteY0" fmla="*/ 3659187 h 4010025"/>
                    <a:gd name="connsiteX1" fmla="*/ 1128713 w 1905000"/>
                    <a:gd name="connsiteY1" fmla="*/ 3834606 h 4010025"/>
                    <a:gd name="connsiteX2" fmla="*/ 956469 w 1905000"/>
                    <a:gd name="connsiteY2" fmla="*/ 4010025 h 4010025"/>
                    <a:gd name="connsiteX3" fmla="*/ 784225 w 1905000"/>
                    <a:gd name="connsiteY3" fmla="*/ 3834606 h 4010025"/>
                    <a:gd name="connsiteX4" fmla="*/ 956469 w 1905000"/>
                    <a:gd name="connsiteY4" fmla="*/ 3659187 h 4010025"/>
                    <a:gd name="connsiteX5" fmla="*/ 1360488 w 1905000"/>
                    <a:gd name="connsiteY5" fmla="*/ 2247900 h 4010025"/>
                    <a:gd name="connsiteX6" fmla="*/ 1435101 w 1905000"/>
                    <a:gd name="connsiteY6" fmla="*/ 2323307 h 4010025"/>
                    <a:gd name="connsiteX7" fmla="*/ 1360488 w 1905000"/>
                    <a:gd name="connsiteY7" fmla="*/ 2398714 h 4010025"/>
                    <a:gd name="connsiteX8" fmla="*/ 1285875 w 1905000"/>
                    <a:gd name="connsiteY8" fmla="*/ 2323307 h 4010025"/>
                    <a:gd name="connsiteX9" fmla="*/ 1360488 w 1905000"/>
                    <a:gd name="connsiteY9" fmla="*/ 2247900 h 4010025"/>
                    <a:gd name="connsiteX10" fmla="*/ 695325 w 1905000"/>
                    <a:gd name="connsiteY10" fmla="*/ 2247900 h 4010025"/>
                    <a:gd name="connsiteX11" fmla="*/ 771525 w 1905000"/>
                    <a:gd name="connsiteY11" fmla="*/ 2323307 h 4010025"/>
                    <a:gd name="connsiteX12" fmla="*/ 695325 w 1905000"/>
                    <a:gd name="connsiteY12" fmla="*/ 2398714 h 4010025"/>
                    <a:gd name="connsiteX13" fmla="*/ 619125 w 1905000"/>
                    <a:gd name="connsiteY13" fmla="*/ 2323307 h 4010025"/>
                    <a:gd name="connsiteX14" fmla="*/ 695325 w 1905000"/>
                    <a:gd name="connsiteY14" fmla="*/ 2247900 h 4010025"/>
                    <a:gd name="connsiteX15" fmla="*/ 1361282 w 1905000"/>
                    <a:gd name="connsiteY15" fmla="*/ 2211387 h 4010025"/>
                    <a:gd name="connsiteX16" fmla="*/ 1250950 w 1905000"/>
                    <a:gd name="connsiteY16" fmla="*/ 2321719 h 4010025"/>
                    <a:gd name="connsiteX17" fmla="*/ 1361282 w 1905000"/>
                    <a:gd name="connsiteY17" fmla="*/ 2432051 h 4010025"/>
                    <a:gd name="connsiteX18" fmla="*/ 1471614 w 1905000"/>
                    <a:gd name="connsiteY18" fmla="*/ 2321719 h 4010025"/>
                    <a:gd name="connsiteX19" fmla="*/ 1361282 w 1905000"/>
                    <a:gd name="connsiteY19" fmla="*/ 2211387 h 4010025"/>
                    <a:gd name="connsiteX20" fmla="*/ 696119 w 1905000"/>
                    <a:gd name="connsiteY20" fmla="*/ 2211387 h 4010025"/>
                    <a:gd name="connsiteX21" fmla="*/ 587375 w 1905000"/>
                    <a:gd name="connsiteY21" fmla="*/ 2321719 h 4010025"/>
                    <a:gd name="connsiteX22" fmla="*/ 696119 w 1905000"/>
                    <a:gd name="connsiteY22" fmla="*/ 2432051 h 4010025"/>
                    <a:gd name="connsiteX23" fmla="*/ 804863 w 1905000"/>
                    <a:gd name="connsiteY23" fmla="*/ 2321719 h 4010025"/>
                    <a:gd name="connsiteX24" fmla="*/ 696119 w 1905000"/>
                    <a:gd name="connsiteY24" fmla="*/ 2211387 h 4010025"/>
                    <a:gd name="connsiteX25" fmla="*/ 1167770 w 1905000"/>
                    <a:gd name="connsiteY25" fmla="*/ 1798637 h 4010025"/>
                    <a:gd name="connsiteX26" fmla="*/ 1351594 w 1905000"/>
                    <a:gd name="connsiteY26" fmla="*/ 1798637 h 4010025"/>
                    <a:gd name="connsiteX27" fmla="*/ 1360488 w 1905000"/>
                    <a:gd name="connsiteY27" fmla="*/ 1807527 h 4010025"/>
                    <a:gd name="connsiteX28" fmla="*/ 1360488 w 1905000"/>
                    <a:gd name="connsiteY28" fmla="*/ 1878647 h 4010025"/>
                    <a:gd name="connsiteX29" fmla="*/ 1351594 w 1905000"/>
                    <a:gd name="connsiteY29" fmla="*/ 1887537 h 4010025"/>
                    <a:gd name="connsiteX30" fmla="*/ 1167770 w 1905000"/>
                    <a:gd name="connsiteY30" fmla="*/ 1887537 h 4010025"/>
                    <a:gd name="connsiteX31" fmla="*/ 1158875 w 1905000"/>
                    <a:gd name="connsiteY31" fmla="*/ 1878647 h 4010025"/>
                    <a:gd name="connsiteX32" fmla="*/ 1158875 w 1905000"/>
                    <a:gd name="connsiteY32" fmla="*/ 1807527 h 4010025"/>
                    <a:gd name="connsiteX33" fmla="*/ 1167770 w 1905000"/>
                    <a:gd name="connsiteY33" fmla="*/ 1798637 h 4010025"/>
                    <a:gd name="connsiteX34" fmla="*/ 905886 w 1905000"/>
                    <a:gd name="connsiteY34" fmla="*/ 1798637 h 4010025"/>
                    <a:gd name="connsiteX35" fmla="*/ 1084841 w 1905000"/>
                    <a:gd name="connsiteY35" fmla="*/ 1798637 h 4010025"/>
                    <a:gd name="connsiteX36" fmla="*/ 1093788 w 1905000"/>
                    <a:gd name="connsiteY36" fmla="*/ 1807527 h 4010025"/>
                    <a:gd name="connsiteX37" fmla="*/ 1093788 w 1905000"/>
                    <a:gd name="connsiteY37" fmla="*/ 1878647 h 4010025"/>
                    <a:gd name="connsiteX38" fmla="*/ 1084841 w 1905000"/>
                    <a:gd name="connsiteY38" fmla="*/ 1887537 h 4010025"/>
                    <a:gd name="connsiteX39" fmla="*/ 905886 w 1905000"/>
                    <a:gd name="connsiteY39" fmla="*/ 1887537 h 4010025"/>
                    <a:gd name="connsiteX40" fmla="*/ 896938 w 1905000"/>
                    <a:gd name="connsiteY40" fmla="*/ 1878647 h 4010025"/>
                    <a:gd name="connsiteX41" fmla="*/ 896938 w 1905000"/>
                    <a:gd name="connsiteY41" fmla="*/ 1807527 h 4010025"/>
                    <a:gd name="connsiteX42" fmla="*/ 905886 w 1905000"/>
                    <a:gd name="connsiteY42" fmla="*/ 1798637 h 4010025"/>
                    <a:gd name="connsiteX43" fmla="*/ 1167770 w 1905000"/>
                    <a:gd name="connsiteY43" fmla="*/ 1611312 h 4010025"/>
                    <a:gd name="connsiteX44" fmla="*/ 1351594 w 1905000"/>
                    <a:gd name="connsiteY44" fmla="*/ 1611312 h 4010025"/>
                    <a:gd name="connsiteX45" fmla="*/ 1360488 w 1905000"/>
                    <a:gd name="connsiteY45" fmla="*/ 1620180 h 4010025"/>
                    <a:gd name="connsiteX46" fmla="*/ 1360488 w 1905000"/>
                    <a:gd name="connsiteY46" fmla="*/ 1691125 h 4010025"/>
                    <a:gd name="connsiteX47" fmla="*/ 1351594 w 1905000"/>
                    <a:gd name="connsiteY47" fmla="*/ 1697037 h 4010025"/>
                    <a:gd name="connsiteX48" fmla="*/ 1167770 w 1905000"/>
                    <a:gd name="connsiteY48" fmla="*/ 1697037 h 4010025"/>
                    <a:gd name="connsiteX49" fmla="*/ 1158875 w 1905000"/>
                    <a:gd name="connsiteY49" fmla="*/ 1691125 h 4010025"/>
                    <a:gd name="connsiteX50" fmla="*/ 1158875 w 1905000"/>
                    <a:gd name="connsiteY50" fmla="*/ 1620180 h 4010025"/>
                    <a:gd name="connsiteX51" fmla="*/ 1167770 w 1905000"/>
                    <a:gd name="connsiteY51" fmla="*/ 1611312 h 4010025"/>
                    <a:gd name="connsiteX52" fmla="*/ 905886 w 1905000"/>
                    <a:gd name="connsiteY52" fmla="*/ 1611312 h 4010025"/>
                    <a:gd name="connsiteX53" fmla="*/ 1084841 w 1905000"/>
                    <a:gd name="connsiteY53" fmla="*/ 1611312 h 4010025"/>
                    <a:gd name="connsiteX54" fmla="*/ 1093788 w 1905000"/>
                    <a:gd name="connsiteY54" fmla="*/ 1620180 h 4010025"/>
                    <a:gd name="connsiteX55" fmla="*/ 1093788 w 1905000"/>
                    <a:gd name="connsiteY55" fmla="*/ 1691125 h 4010025"/>
                    <a:gd name="connsiteX56" fmla="*/ 1084841 w 1905000"/>
                    <a:gd name="connsiteY56" fmla="*/ 1697037 h 4010025"/>
                    <a:gd name="connsiteX57" fmla="*/ 905886 w 1905000"/>
                    <a:gd name="connsiteY57" fmla="*/ 1697037 h 4010025"/>
                    <a:gd name="connsiteX58" fmla="*/ 896938 w 1905000"/>
                    <a:gd name="connsiteY58" fmla="*/ 1691125 h 4010025"/>
                    <a:gd name="connsiteX59" fmla="*/ 896938 w 1905000"/>
                    <a:gd name="connsiteY59" fmla="*/ 1620180 h 4010025"/>
                    <a:gd name="connsiteX60" fmla="*/ 905886 w 1905000"/>
                    <a:gd name="connsiteY60" fmla="*/ 1611312 h 4010025"/>
                    <a:gd name="connsiteX61" fmla="*/ 1167770 w 1905000"/>
                    <a:gd name="connsiteY61" fmla="*/ 1422400 h 4010025"/>
                    <a:gd name="connsiteX62" fmla="*/ 1351594 w 1905000"/>
                    <a:gd name="connsiteY62" fmla="*/ 1422400 h 4010025"/>
                    <a:gd name="connsiteX63" fmla="*/ 1360488 w 1905000"/>
                    <a:gd name="connsiteY63" fmla="*/ 1431432 h 4010025"/>
                    <a:gd name="connsiteX64" fmla="*/ 1360488 w 1905000"/>
                    <a:gd name="connsiteY64" fmla="*/ 1500680 h 4010025"/>
                    <a:gd name="connsiteX65" fmla="*/ 1351594 w 1905000"/>
                    <a:gd name="connsiteY65" fmla="*/ 1509713 h 4010025"/>
                    <a:gd name="connsiteX66" fmla="*/ 1167770 w 1905000"/>
                    <a:gd name="connsiteY66" fmla="*/ 1509713 h 4010025"/>
                    <a:gd name="connsiteX67" fmla="*/ 1158875 w 1905000"/>
                    <a:gd name="connsiteY67" fmla="*/ 1500680 h 4010025"/>
                    <a:gd name="connsiteX68" fmla="*/ 1158875 w 1905000"/>
                    <a:gd name="connsiteY68" fmla="*/ 1431432 h 4010025"/>
                    <a:gd name="connsiteX69" fmla="*/ 1167770 w 1905000"/>
                    <a:gd name="connsiteY69" fmla="*/ 1422400 h 4010025"/>
                    <a:gd name="connsiteX70" fmla="*/ 905886 w 1905000"/>
                    <a:gd name="connsiteY70" fmla="*/ 1422400 h 4010025"/>
                    <a:gd name="connsiteX71" fmla="*/ 1084841 w 1905000"/>
                    <a:gd name="connsiteY71" fmla="*/ 1422400 h 4010025"/>
                    <a:gd name="connsiteX72" fmla="*/ 1093788 w 1905000"/>
                    <a:gd name="connsiteY72" fmla="*/ 1431432 h 4010025"/>
                    <a:gd name="connsiteX73" fmla="*/ 1093788 w 1905000"/>
                    <a:gd name="connsiteY73" fmla="*/ 1500680 h 4010025"/>
                    <a:gd name="connsiteX74" fmla="*/ 1084841 w 1905000"/>
                    <a:gd name="connsiteY74" fmla="*/ 1509713 h 4010025"/>
                    <a:gd name="connsiteX75" fmla="*/ 905886 w 1905000"/>
                    <a:gd name="connsiteY75" fmla="*/ 1509713 h 4010025"/>
                    <a:gd name="connsiteX76" fmla="*/ 896938 w 1905000"/>
                    <a:gd name="connsiteY76" fmla="*/ 1500680 h 4010025"/>
                    <a:gd name="connsiteX77" fmla="*/ 896938 w 1905000"/>
                    <a:gd name="connsiteY77" fmla="*/ 1431432 h 4010025"/>
                    <a:gd name="connsiteX78" fmla="*/ 905886 w 1905000"/>
                    <a:gd name="connsiteY78" fmla="*/ 1422400 h 4010025"/>
                    <a:gd name="connsiteX79" fmla="*/ 581038 w 1905000"/>
                    <a:gd name="connsiteY79" fmla="*/ 1325562 h 4010025"/>
                    <a:gd name="connsiteX80" fmla="*/ 557213 w 1905000"/>
                    <a:gd name="connsiteY80" fmla="*/ 1349368 h 4010025"/>
                    <a:gd name="connsiteX81" fmla="*/ 569126 w 1905000"/>
                    <a:gd name="connsiteY81" fmla="*/ 1414832 h 4010025"/>
                    <a:gd name="connsiteX82" fmla="*/ 575082 w 1905000"/>
                    <a:gd name="connsiteY82" fmla="*/ 1423759 h 4010025"/>
                    <a:gd name="connsiteX83" fmla="*/ 819289 w 1905000"/>
                    <a:gd name="connsiteY83" fmla="*/ 1423759 h 4010025"/>
                    <a:gd name="connsiteX84" fmla="*/ 828223 w 1905000"/>
                    <a:gd name="connsiteY84" fmla="*/ 1429711 h 4010025"/>
                    <a:gd name="connsiteX85" fmla="*/ 828223 w 1905000"/>
                    <a:gd name="connsiteY85" fmla="*/ 1501127 h 4010025"/>
                    <a:gd name="connsiteX86" fmla="*/ 819289 w 1905000"/>
                    <a:gd name="connsiteY86" fmla="*/ 1510054 h 4010025"/>
                    <a:gd name="connsiteX87" fmla="*/ 592951 w 1905000"/>
                    <a:gd name="connsiteY87" fmla="*/ 1510054 h 4010025"/>
                    <a:gd name="connsiteX88" fmla="*/ 586995 w 1905000"/>
                    <a:gd name="connsiteY88" fmla="*/ 1518981 h 4010025"/>
                    <a:gd name="connsiteX89" fmla="*/ 601885 w 1905000"/>
                    <a:gd name="connsiteY89" fmla="*/ 1602300 h 4010025"/>
                    <a:gd name="connsiteX90" fmla="*/ 610820 w 1905000"/>
                    <a:gd name="connsiteY90" fmla="*/ 1611227 h 4010025"/>
                    <a:gd name="connsiteX91" fmla="*/ 819289 w 1905000"/>
                    <a:gd name="connsiteY91" fmla="*/ 1611227 h 4010025"/>
                    <a:gd name="connsiteX92" fmla="*/ 828223 w 1905000"/>
                    <a:gd name="connsiteY92" fmla="*/ 1620154 h 4010025"/>
                    <a:gd name="connsiteX93" fmla="*/ 828223 w 1905000"/>
                    <a:gd name="connsiteY93" fmla="*/ 1691570 h 4010025"/>
                    <a:gd name="connsiteX94" fmla="*/ 819289 w 1905000"/>
                    <a:gd name="connsiteY94" fmla="*/ 1697521 h 4010025"/>
                    <a:gd name="connsiteX95" fmla="*/ 628688 w 1905000"/>
                    <a:gd name="connsiteY95" fmla="*/ 1697521 h 4010025"/>
                    <a:gd name="connsiteX96" fmla="*/ 619754 w 1905000"/>
                    <a:gd name="connsiteY96" fmla="*/ 1706448 h 4010025"/>
                    <a:gd name="connsiteX97" fmla="*/ 634645 w 1905000"/>
                    <a:gd name="connsiteY97" fmla="*/ 1792743 h 4010025"/>
                    <a:gd name="connsiteX98" fmla="*/ 643579 w 1905000"/>
                    <a:gd name="connsiteY98" fmla="*/ 1798694 h 4010025"/>
                    <a:gd name="connsiteX99" fmla="*/ 819289 w 1905000"/>
                    <a:gd name="connsiteY99" fmla="*/ 1798694 h 4010025"/>
                    <a:gd name="connsiteX100" fmla="*/ 828223 w 1905000"/>
                    <a:gd name="connsiteY100" fmla="*/ 1807621 h 4010025"/>
                    <a:gd name="connsiteX101" fmla="*/ 828223 w 1905000"/>
                    <a:gd name="connsiteY101" fmla="*/ 1879037 h 4010025"/>
                    <a:gd name="connsiteX102" fmla="*/ 819289 w 1905000"/>
                    <a:gd name="connsiteY102" fmla="*/ 1887964 h 4010025"/>
                    <a:gd name="connsiteX103" fmla="*/ 661448 w 1905000"/>
                    <a:gd name="connsiteY103" fmla="*/ 1887964 h 4010025"/>
                    <a:gd name="connsiteX104" fmla="*/ 652514 w 1905000"/>
                    <a:gd name="connsiteY104" fmla="*/ 1896891 h 4010025"/>
                    <a:gd name="connsiteX105" fmla="*/ 667404 w 1905000"/>
                    <a:gd name="connsiteY105" fmla="*/ 1965332 h 4010025"/>
                    <a:gd name="connsiteX106" fmla="*/ 667404 w 1905000"/>
                    <a:gd name="connsiteY106" fmla="*/ 1968307 h 4010025"/>
                    <a:gd name="connsiteX107" fmla="*/ 688251 w 1905000"/>
                    <a:gd name="connsiteY107" fmla="*/ 1989137 h 4010025"/>
                    <a:gd name="connsiteX108" fmla="*/ 1566801 w 1905000"/>
                    <a:gd name="connsiteY108" fmla="*/ 1989137 h 4010025"/>
                    <a:gd name="connsiteX109" fmla="*/ 1590626 w 1905000"/>
                    <a:gd name="connsiteY109" fmla="*/ 1965332 h 4010025"/>
                    <a:gd name="connsiteX110" fmla="*/ 1602538 w 1905000"/>
                    <a:gd name="connsiteY110" fmla="*/ 1896891 h 4010025"/>
                    <a:gd name="connsiteX111" fmla="*/ 1596582 w 1905000"/>
                    <a:gd name="connsiteY111" fmla="*/ 1887964 h 4010025"/>
                    <a:gd name="connsiteX112" fmla="*/ 1435763 w 1905000"/>
                    <a:gd name="connsiteY112" fmla="*/ 1887964 h 4010025"/>
                    <a:gd name="connsiteX113" fmla="*/ 1426829 w 1905000"/>
                    <a:gd name="connsiteY113" fmla="*/ 1879037 h 4010025"/>
                    <a:gd name="connsiteX114" fmla="*/ 1426829 w 1905000"/>
                    <a:gd name="connsiteY114" fmla="*/ 1807621 h 4010025"/>
                    <a:gd name="connsiteX115" fmla="*/ 1435763 w 1905000"/>
                    <a:gd name="connsiteY115" fmla="*/ 1798694 h 4010025"/>
                    <a:gd name="connsiteX116" fmla="*/ 1611473 w 1905000"/>
                    <a:gd name="connsiteY116" fmla="*/ 1798694 h 4010025"/>
                    <a:gd name="connsiteX117" fmla="*/ 1617429 w 1905000"/>
                    <a:gd name="connsiteY117" fmla="*/ 1792743 h 4010025"/>
                    <a:gd name="connsiteX118" fmla="*/ 1632320 w 1905000"/>
                    <a:gd name="connsiteY118" fmla="*/ 1706448 h 4010025"/>
                    <a:gd name="connsiteX119" fmla="*/ 1623385 w 1905000"/>
                    <a:gd name="connsiteY119" fmla="*/ 1697521 h 4010025"/>
                    <a:gd name="connsiteX120" fmla="*/ 1435763 w 1905000"/>
                    <a:gd name="connsiteY120" fmla="*/ 1697521 h 4010025"/>
                    <a:gd name="connsiteX121" fmla="*/ 1426829 w 1905000"/>
                    <a:gd name="connsiteY121" fmla="*/ 1691570 h 4010025"/>
                    <a:gd name="connsiteX122" fmla="*/ 1426829 w 1905000"/>
                    <a:gd name="connsiteY122" fmla="*/ 1620154 h 4010025"/>
                    <a:gd name="connsiteX123" fmla="*/ 1435763 w 1905000"/>
                    <a:gd name="connsiteY123" fmla="*/ 1611227 h 4010025"/>
                    <a:gd name="connsiteX124" fmla="*/ 1641254 w 1905000"/>
                    <a:gd name="connsiteY124" fmla="*/ 1611227 h 4010025"/>
                    <a:gd name="connsiteX125" fmla="*/ 1647210 w 1905000"/>
                    <a:gd name="connsiteY125" fmla="*/ 1602300 h 4010025"/>
                    <a:gd name="connsiteX126" fmla="*/ 1659123 w 1905000"/>
                    <a:gd name="connsiteY126" fmla="*/ 1518981 h 4010025"/>
                    <a:gd name="connsiteX127" fmla="*/ 1653167 w 1905000"/>
                    <a:gd name="connsiteY127" fmla="*/ 1510054 h 4010025"/>
                    <a:gd name="connsiteX128" fmla="*/ 1435763 w 1905000"/>
                    <a:gd name="connsiteY128" fmla="*/ 1510054 h 4010025"/>
                    <a:gd name="connsiteX129" fmla="*/ 1426829 w 1905000"/>
                    <a:gd name="connsiteY129" fmla="*/ 1501127 h 4010025"/>
                    <a:gd name="connsiteX130" fmla="*/ 1426829 w 1905000"/>
                    <a:gd name="connsiteY130" fmla="*/ 1429711 h 4010025"/>
                    <a:gd name="connsiteX131" fmla="*/ 1435763 w 1905000"/>
                    <a:gd name="connsiteY131" fmla="*/ 1423759 h 4010025"/>
                    <a:gd name="connsiteX132" fmla="*/ 1668057 w 1905000"/>
                    <a:gd name="connsiteY132" fmla="*/ 1423759 h 4010025"/>
                    <a:gd name="connsiteX133" fmla="*/ 1674014 w 1905000"/>
                    <a:gd name="connsiteY133" fmla="*/ 1414832 h 4010025"/>
                    <a:gd name="connsiteX134" fmla="*/ 1685926 w 1905000"/>
                    <a:gd name="connsiteY134" fmla="*/ 1349368 h 4010025"/>
                    <a:gd name="connsiteX135" fmla="*/ 1662101 w 1905000"/>
                    <a:gd name="connsiteY135" fmla="*/ 1325562 h 4010025"/>
                    <a:gd name="connsiteX136" fmla="*/ 581038 w 1905000"/>
                    <a:gd name="connsiteY136" fmla="*/ 1325562 h 4010025"/>
                    <a:gd name="connsiteX137" fmla="*/ 259347 w 1905000"/>
                    <a:gd name="connsiteY137" fmla="*/ 1182687 h 4010025"/>
                    <a:gd name="connsiteX138" fmla="*/ 220663 w 1905000"/>
                    <a:gd name="connsiteY138" fmla="*/ 1221350 h 4010025"/>
                    <a:gd name="connsiteX139" fmla="*/ 259347 w 1905000"/>
                    <a:gd name="connsiteY139" fmla="*/ 1260012 h 4010025"/>
                    <a:gd name="connsiteX140" fmla="*/ 417055 w 1905000"/>
                    <a:gd name="connsiteY140" fmla="*/ 1260012 h 4010025"/>
                    <a:gd name="connsiteX141" fmla="*/ 559886 w 1905000"/>
                    <a:gd name="connsiteY141" fmla="*/ 2092747 h 4010025"/>
                    <a:gd name="connsiteX142" fmla="*/ 598569 w 1905000"/>
                    <a:gd name="connsiteY142" fmla="*/ 2122487 h 4010025"/>
                    <a:gd name="connsiteX143" fmla="*/ 1461505 w 1905000"/>
                    <a:gd name="connsiteY143" fmla="*/ 2122487 h 4010025"/>
                    <a:gd name="connsiteX144" fmla="*/ 1500188 w 1905000"/>
                    <a:gd name="connsiteY144" fmla="*/ 2083824 h 4010025"/>
                    <a:gd name="connsiteX145" fmla="*/ 1461505 w 1905000"/>
                    <a:gd name="connsiteY145" fmla="*/ 2045162 h 4010025"/>
                    <a:gd name="connsiteX146" fmla="*/ 631301 w 1905000"/>
                    <a:gd name="connsiteY146" fmla="*/ 2045162 h 4010025"/>
                    <a:gd name="connsiteX147" fmla="*/ 488471 w 1905000"/>
                    <a:gd name="connsiteY147" fmla="*/ 1215402 h 4010025"/>
                    <a:gd name="connsiteX148" fmla="*/ 449787 w 1905000"/>
                    <a:gd name="connsiteY148" fmla="*/ 1182687 h 4010025"/>
                    <a:gd name="connsiteX149" fmla="*/ 259347 w 1905000"/>
                    <a:gd name="connsiteY149" fmla="*/ 1182687 h 4010025"/>
                    <a:gd name="connsiteX150" fmla="*/ 29766 w 1905000"/>
                    <a:gd name="connsiteY150" fmla="*/ 319087 h 4010025"/>
                    <a:gd name="connsiteX151" fmla="*/ 1875235 w 1905000"/>
                    <a:gd name="connsiteY151" fmla="*/ 319087 h 4010025"/>
                    <a:gd name="connsiteX152" fmla="*/ 1905000 w 1905000"/>
                    <a:gd name="connsiteY152" fmla="*/ 348853 h 4010025"/>
                    <a:gd name="connsiteX153" fmla="*/ 1905000 w 1905000"/>
                    <a:gd name="connsiteY153" fmla="*/ 3265884 h 4010025"/>
                    <a:gd name="connsiteX154" fmla="*/ 1875235 w 1905000"/>
                    <a:gd name="connsiteY154" fmla="*/ 3295650 h 4010025"/>
                    <a:gd name="connsiteX155" fmla="*/ 29766 w 1905000"/>
                    <a:gd name="connsiteY155" fmla="*/ 3295650 h 4010025"/>
                    <a:gd name="connsiteX156" fmla="*/ 0 w 1905000"/>
                    <a:gd name="connsiteY156" fmla="*/ 3265884 h 4010025"/>
                    <a:gd name="connsiteX157" fmla="*/ 0 w 1905000"/>
                    <a:gd name="connsiteY157" fmla="*/ 348853 h 4010025"/>
                    <a:gd name="connsiteX158" fmla="*/ 29766 w 1905000"/>
                    <a:gd name="connsiteY158" fmla="*/ 319087 h 4010025"/>
                    <a:gd name="connsiteX159" fmla="*/ 581451 w 1905000"/>
                    <a:gd name="connsiteY159" fmla="*/ 0 h 4010025"/>
                    <a:gd name="connsiteX160" fmla="*/ 1337838 w 1905000"/>
                    <a:gd name="connsiteY160" fmla="*/ 0 h 4010025"/>
                    <a:gd name="connsiteX161" fmla="*/ 1403351 w 1905000"/>
                    <a:gd name="connsiteY161" fmla="*/ 65970 h 4010025"/>
                    <a:gd name="connsiteX162" fmla="*/ 1337838 w 1905000"/>
                    <a:gd name="connsiteY162" fmla="*/ 134938 h 4010025"/>
                    <a:gd name="connsiteX163" fmla="*/ 581451 w 1905000"/>
                    <a:gd name="connsiteY163" fmla="*/ 134938 h 4010025"/>
                    <a:gd name="connsiteX164" fmla="*/ 515938 w 1905000"/>
                    <a:gd name="connsiteY164" fmla="*/ 65970 h 4010025"/>
                    <a:gd name="connsiteX165" fmla="*/ 581451 w 1905000"/>
                    <a:gd name="connsiteY165" fmla="*/ 0 h 401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</a:cxnLst>
                  <a:rect l="l" t="t" r="r" b="b"/>
                  <a:pathLst>
                    <a:path w="1905000" h="4010025">
                      <a:moveTo>
                        <a:pt x="956469" y="3659187"/>
                      </a:moveTo>
                      <a:cubicBezTo>
                        <a:pt x="1051597" y="3659187"/>
                        <a:pt x="1128713" y="3737725"/>
                        <a:pt x="1128713" y="3834606"/>
                      </a:cubicBezTo>
                      <a:cubicBezTo>
                        <a:pt x="1128713" y="3931487"/>
                        <a:pt x="1051597" y="4010025"/>
                        <a:pt x="956469" y="4010025"/>
                      </a:cubicBezTo>
                      <a:cubicBezTo>
                        <a:pt x="861341" y="4010025"/>
                        <a:pt x="784225" y="3931487"/>
                        <a:pt x="784225" y="3834606"/>
                      </a:cubicBezTo>
                      <a:cubicBezTo>
                        <a:pt x="784225" y="3737725"/>
                        <a:pt x="861341" y="3659187"/>
                        <a:pt x="956469" y="3659187"/>
                      </a:cubicBezTo>
                      <a:close/>
                      <a:moveTo>
                        <a:pt x="1360488" y="2247900"/>
                      </a:moveTo>
                      <a:cubicBezTo>
                        <a:pt x="1401696" y="2247900"/>
                        <a:pt x="1435101" y="2281661"/>
                        <a:pt x="1435101" y="2323307"/>
                      </a:cubicBezTo>
                      <a:cubicBezTo>
                        <a:pt x="1435101" y="2364953"/>
                        <a:pt x="1401696" y="2398714"/>
                        <a:pt x="1360488" y="2398714"/>
                      </a:cubicBezTo>
                      <a:cubicBezTo>
                        <a:pt x="1319280" y="2398714"/>
                        <a:pt x="1285875" y="2364953"/>
                        <a:pt x="1285875" y="2323307"/>
                      </a:cubicBezTo>
                      <a:cubicBezTo>
                        <a:pt x="1285875" y="2281661"/>
                        <a:pt x="1319280" y="2247900"/>
                        <a:pt x="1360488" y="2247900"/>
                      </a:cubicBezTo>
                      <a:close/>
                      <a:moveTo>
                        <a:pt x="695325" y="2247900"/>
                      </a:moveTo>
                      <a:cubicBezTo>
                        <a:pt x="737409" y="2247900"/>
                        <a:pt x="771525" y="2281661"/>
                        <a:pt x="771525" y="2323307"/>
                      </a:cubicBezTo>
                      <a:cubicBezTo>
                        <a:pt x="771525" y="2364953"/>
                        <a:pt x="737409" y="2398714"/>
                        <a:pt x="695325" y="2398714"/>
                      </a:cubicBezTo>
                      <a:cubicBezTo>
                        <a:pt x="653241" y="2398714"/>
                        <a:pt x="619125" y="2364953"/>
                        <a:pt x="619125" y="2323307"/>
                      </a:cubicBezTo>
                      <a:cubicBezTo>
                        <a:pt x="619125" y="2281661"/>
                        <a:pt x="653241" y="2247900"/>
                        <a:pt x="695325" y="2247900"/>
                      </a:cubicBezTo>
                      <a:close/>
                      <a:moveTo>
                        <a:pt x="1361282" y="2211387"/>
                      </a:moveTo>
                      <a:cubicBezTo>
                        <a:pt x="1300347" y="2211387"/>
                        <a:pt x="1250950" y="2260784"/>
                        <a:pt x="1250950" y="2321719"/>
                      </a:cubicBezTo>
                      <a:cubicBezTo>
                        <a:pt x="1250950" y="2382654"/>
                        <a:pt x="1300347" y="2432051"/>
                        <a:pt x="1361282" y="2432051"/>
                      </a:cubicBezTo>
                      <a:cubicBezTo>
                        <a:pt x="1422217" y="2432051"/>
                        <a:pt x="1471614" y="2382654"/>
                        <a:pt x="1471614" y="2321719"/>
                      </a:cubicBezTo>
                      <a:cubicBezTo>
                        <a:pt x="1471614" y="2260784"/>
                        <a:pt x="1422217" y="2211387"/>
                        <a:pt x="1361282" y="2211387"/>
                      </a:cubicBezTo>
                      <a:close/>
                      <a:moveTo>
                        <a:pt x="696119" y="2211387"/>
                      </a:moveTo>
                      <a:cubicBezTo>
                        <a:pt x="636061" y="2211387"/>
                        <a:pt x="587375" y="2260784"/>
                        <a:pt x="587375" y="2321719"/>
                      </a:cubicBezTo>
                      <a:cubicBezTo>
                        <a:pt x="587375" y="2382654"/>
                        <a:pt x="636061" y="2432051"/>
                        <a:pt x="696119" y="2432051"/>
                      </a:cubicBezTo>
                      <a:cubicBezTo>
                        <a:pt x="756177" y="2432051"/>
                        <a:pt x="804863" y="2382654"/>
                        <a:pt x="804863" y="2321719"/>
                      </a:cubicBezTo>
                      <a:cubicBezTo>
                        <a:pt x="804863" y="2260784"/>
                        <a:pt x="756177" y="2211387"/>
                        <a:pt x="696119" y="2211387"/>
                      </a:cubicBezTo>
                      <a:close/>
                      <a:moveTo>
                        <a:pt x="1167770" y="1798637"/>
                      </a:moveTo>
                      <a:cubicBezTo>
                        <a:pt x="1351594" y="1798637"/>
                        <a:pt x="1351594" y="1798637"/>
                        <a:pt x="1351594" y="1798637"/>
                      </a:cubicBezTo>
                      <a:cubicBezTo>
                        <a:pt x="1354558" y="1798637"/>
                        <a:pt x="1360488" y="1801600"/>
                        <a:pt x="1360488" y="1807527"/>
                      </a:cubicBezTo>
                      <a:cubicBezTo>
                        <a:pt x="1360488" y="1878647"/>
                        <a:pt x="1360488" y="1878647"/>
                        <a:pt x="1360488" y="1878647"/>
                      </a:cubicBezTo>
                      <a:cubicBezTo>
                        <a:pt x="1360488" y="1884574"/>
                        <a:pt x="1354558" y="1887537"/>
                        <a:pt x="1351594" y="1887537"/>
                      </a:cubicBezTo>
                      <a:cubicBezTo>
                        <a:pt x="1167770" y="1887537"/>
                        <a:pt x="1167770" y="1887537"/>
                        <a:pt x="1167770" y="1887537"/>
                      </a:cubicBezTo>
                      <a:cubicBezTo>
                        <a:pt x="1164805" y="1887537"/>
                        <a:pt x="1158875" y="1884574"/>
                        <a:pt x="1158875" y="1878647"/>
                      </a:cubicBezTo>
                      <a:cubicBezTo>
                        <a:pt x="1158875" y="1807527"/>
                        <a:pt x="1158875" y="1807527"/>
                        <a:pt x="1158875" y="1807527"/>
                      </a:cubicBezTo>
                      <a:cubicBezTo>
                        <a:pt x="1158875" y="1801600"/>
                        <a:pt x="1164805" y="1798637"/>
                        <a:pt x="1167770" y="1798637"/>
                      </a:cubicBezTo>
                      <a:close/>
                      <a:moveTo>
                        <a:pt x="905886" y="1798637"/>
                      </a:moveTo>
                      <a:cubicBezTo>
                        <a:pt x="1084841" y="1798637"/>
                        <a:pt x="1084841" y="1798637"/>
                        <a:pt x="1084841" y="1798637"/>
                      </a:cubicBezTo>
                      <a:cubicBezTo>
                        <a:pt x="1090806" y="1798637"/>
                        <a:pt x="1093788" y="1801600"/>
                        <a:pt x="1093788" y="1807527"/>
                      </a:cubicBezTo>
                      <a:cubicBezTo>
                        <a:pt x="1093788" y="1878647"/>
                        <a:pt x="1093788" y="1878647"/>
                        <a:pt x="1093788" y="1878647"/>
                      </a:cubicBezTo>
                      <a:cubicBezTo>
                        <a:pt x="1093788" y="1884574"/>
                        <a:pt x="1090806" y="1887537"/>
                        <a:pt x="1084841" y="1887537"/>
                      </a:cubicBezTo>
                      <a:cubicBezTo>
                        <a:pt x="905886" y="1887537"/>
                        <a:pt x="905886" y="1887537"/>
                        <a:pt x="905886" y="1887537"/>
                      </a:cubicBezTo>
                      <a:cubicBezTo>
                        <a:pt x="899921" y="1887537"/>
                        <a:pt x="896938" y="1884574"/>
                        <a:pt x="896938" y="1878647"/>
                      </a:cubicBezTo>
                      <a:cubicBezTo>
                        <a:pt x="896938" y="1807527"/>
                        <a:pt x="896938" y="1807527"/>
                        <a:pt x="896938" y="1807527"/>
                      </a:cubicBezTo>
                      <a:cubicBezTo>
                        <a:pt x="896938" y="1801600"/>
                        <a:pt x="899921" y="1798637"/>
                        <a:pt x="905886" y="1798637"/>
                      </a:cubicBezTo>
                      <a:close/>
                      <a:moveTo>
                        <a:pt x="1167770" y="1611312"/>
                      </a:moveTo>
                      <a:cubicBezTo>
                        <a:pt x="1351594" y="1611312"/>
                        <a:pt x="1351594" y="1611312"/>
                        <a:pt x="1351594" y="1611312"/>
                      </a:cubicBezTo>
                      <a:cubicBezTo>
                        <a:pt x="1354558" y="1611312"/>
                        <a:pt x="1360488" y="1614268"/>
                        <a:pt x="1360488" y="1620180"/>
                      </a:cubicBezTo>
                      <a:cubicBezTo>
                        <a:pt x="1360488" y="1691125"/>
                        <a:pt x="1360488" y="1691125"/>
                        <a:pt x="1360488" y="1691125"/>
                      </a:cubicBezTo>
                      <a:cubicBezTo>
                        <a:pt x="1360488" y="1694081"/>
                        <a:pt x="1354558" y="1697037"/>
                        <a:pt x="1351594" y="1697037"/>
                      </a:cubicBezTo>
                      <a:cubicBezTo>
                        <a:pt x="1167770" y="1697037"/>
                        <a:pt x="1167770" y="1697037"/>
                        <a:pt x="1167770" y="1697037"/>
                      </a:cubicBezTo>
                      <a:cubicBezTo>
                        <a:pt x="1164805" y="1697037"/>
                        <a:pt x="1158875" y="1694081"/>
                        <a:pt x="1158875" y="1691125"/>
                      </a:cubicBezTo>
                      <a:cubicBezTo>
                        <a:pt x="1158875" y="1620180"/>
                        <a:pt x="1158875" y="1620180"/>
                        <a:pt x="1158875" y="1620180"/>
                      </a:cubicBezTo>
                      <a:cubicBezTo>
                        <a:pt x="1158875" y="1614268"/>
                        <a:pt x="1164805" y="1611312"/>
                        <a:pt x="1167770" y="1611312"/>
                      </a:cubicBezTo>
                      <a:close/>
                      <a:moveTo>
                        <a:pt x="905886" y="1611312"/>
                      </a:moveTo>
                      <a:cubicBezTo>
                        <a:pt x="1084841" y="1611312"/>
                        <a:pt x="1084841" y="1611312"/>
                        <a:pt x="1084841" y="1611312"/>
                      </a:cubicBezTo>
                      <a:cubicBezTo>
                        <a:pt x="1090806" y="1611312"/>
                        <a:pt x="1093788" y="1614268"/>
                        <a:pt x="1093788" y="1620180"/>
                      </a:cubicBezTo>
                      <a:cubicBezTo>
                        <a:pt x="1093788" y="1691125"/>
                        <a:pt x="1093788" y="1691125"/>
                        <a:pt x="1093788" y="1691125"/>
                      </a:cubicBezTo>
                      <a:cubicBezTo>
                        <a:pt x="1093788" y="1694081"/>
                        <a:pt x="1090806" y="1697037"/>
                        <a:pt x="1084841" y="1697037"/>
                      </a:cubicBezTo>
                      <a:cubicBezTo>
                        <a:pt x="905886" y="1697037"/>
                        <a:pt x="905886" y="1697037"/>
                        <a:pt x="905886" y="1697037"/>
                      </a:cubicBezTo>
                      <a:cubicBezTo>
                        <a:pt x="899921" y="1697037"/>
                        <a:pt x="896938" y="1694081"/>
                        <a:pt x="896938" y="1691125"/>
                      </a:cubicBezTo>
                      <a:cubicBezTo>
                        <a:pt x="896938" y="1620180"/>
                        <a:pt x="896938" y="1620180"/>
                        <a:pt x="896938" y="1620180"/>
                      </a:cubicBezTo>
                      <a:cubicBezTo>
                        <a:pt x="896938" y="1614268"/>
                        <a:pt x="899921" y="1611312"/>
                        <a:pt x="905886" y="1611312"/>
                      </a:cubicBezTo>
                      <a:close/>
                      <a:moveTo>
                        <a:pt x="1167770" y="1422400"/>
                      </a:moveTo>
                      <a:cubicBezTo>
                        <a:pt x="1351594" y="1422400"/>
                        <a:pt x="1351594" y="1422400"/>
                        <a:pt x="1351594" y="1422400"/>
                      </a:cubicBezTo>
                      <a:cubicBezTo>
                        <a:pt x="1354558" y="1422400"/>
                        <a:pt x="1360488" y="1425411"/>
                        <a:pt x="1360488" y="1431432"/>
                      </a:cubicBezTo>
                      <a:cubicBezTo>
                        <a:pt x="1360488" y="1500680"/>
                        <a:pt x="1360488" y="1500680"/>
                        <a:pt x="1360488" y="1500680"/>
                      </a:cubicBezTo>
                      <a:cubicBezTo>
                        <a:pt x="1360488" y="1506702"/>
                        <a:pt x="1354558" y="1509713"/>
                        <a:pt x="1351594" y="1509713"/>
                      </a:cubicBezTo>
                      <a:cubicBezTo>
                        <a:pt x="1167770" y="1509713"/>
                        <a:pt x="1167770" y="1509713"/>
                        <a:pt x="1167770" y="1509713"/>
                      </a:cubicBezTo>
                      <a:cubicBezTo>
                        <a:pt x="1164805" y="1509713"/>
                        <a:pt x="1158875" y="1506702"/>
                        <a:pt x="1158875" y="1500680"/>
                      </a:cubicBezTo>
                      <a:cubicBezTo>
                        <a:pt x="1158875" y="1431432"/>
                        <a:pt x="1158875" y="1431432"/>
                        <a:pt x="1158875" y="1431432"/>
                      </a:cubicBezTo>
                      <a:cubicBezTo>
                        <a:pt x="1158875" y="1425411"/>
                        <a:pt x="1164805" y="1422400"/>
                        <a:pt x="1167770" y="1422400"/>
                      </a:cubicBezTo>
                      <a:close/>
                      <a:moveTo>
                        <a:pt x="905886" y="1422400"/>
                      </a:moveTo>
                      <a:cubicBezTo>
                        <a:pt x="1084841" y="1422400"/>
                        <a:pt x="1084841" y="1422400"/>
                        <a:pt x="1084841" y="1422400"/>
                      </a:cubicBezTo>
                      <a:cubicBezTo>
                        <a:pt x="1090806" y="1422400"/>
                        <a:pt x="1093788" y="1425411"/>
                        <a:pt x="1093788" y="1431432"/>
                      </a:cubicBezTo>
                      <a:cubicBezTo>
                        <a:pt x="1093788" y="1500680"/>
                        <a:pt x="1093788" y="1500680"/>
                        <a:pt x="1093788" y="1500680"/>
                      </a:cubicBezTo>
                      <a:cubicBezTo>
                        <a:pt x="1093788" y="1506702"/>
                        <a:pt x="1090806" y="1509713"/>
                        <a:pt x="1084841" y="1509713"/>
                      </a:cubicBezTo>
                      <a:cubicBezTo>
                        <a:pt x="905886" y="1509713"/>
                        <a:pt x="905886" y="1509713"/>
                        <a:pt x="905886" y="1509713"/>
                      </a:cubicBezTo>
                      <a:cubicBezTo>
                        <a:pt x="899921" y="1509713"/>
                        <a:pt x="896938" y="1506702"/>
                        <a:pt x="896938" y="1500680"/>
                      </a:cubicBezTo>
                      <a:cubicBezTo>
                        <a:pt x="896938" y="1431432"/>
                        <a:pt x="896938" y="1431432"/>
                        <a:pt x="896938" y="1431432"/>
                      </a:cubicBezTo>
                      <a:cubicBezTo>
                        <a:pt x="896938" y="1425411"/>
                        <a:pt x="899921" y="1422400"/>
                        <a:pt x="905886" y="1422400"/>
                      </a:cubicBezTo>
                      <a:close/>
                      <a:moveTo>
                        <a:pt x="581038" y="1325562"/>
                      </a:moveTo>
                      <a:cubicBezTo>
                        <a:pt x="569126" y="1325562"/>
                        <a:pt x="557213" y="1337465"/>
                        <a:pt x="557213" y="1349368"/>
                      </a:cubicBezTo>
                      <a:cubicBezTo>
                        <a:pt x="569126" y="1414832"/>
                        <a:pt x="569126" y="1414832"/>
                        <a:pt x="569126" y="1414832"/>
                      </a:cubicBezTo>
                      <a:cubicBezTo>
                        <a:pt x="569126" y="1417808"/>
                        <a:pt x="572104" y="1423759"/>
                        <a:pt x="575082" y="1423759"/>
                      </a:cubicBezTo>
                      <a:cubicBezTo>
                        <a:pt x="819289" y="1423759"/>
                        <a:pt x="819289" y="1423759"/>
                        <a:pt x="819289" y="1423759"/>
                      </a:cubicBezTo>
                      <a:cubicBezTo>
                        <a:pt x="825245" y="1423759"/>
                        <a:pt x="828223" y="1423759"/>
                        <a:pt x="828223" y="1429711"/>
                      </a:cubicBezTo>
                      <a:cubicBezTo>
                        <a:pt x="828223" y="1501127"/>
                        <a:pt x="828223" y="1501127"/>
                        <a:pt x="828223" y="1501127"/>
                      </a:cubicBezTo>
                      <a:cubicBezTo>
                        <a:pt x="828223" y="1507078"/>
                        <a:pt x="825245" y="1510054"/>
                        <a:pt x="819289" y="1510054"/>
                      </a:cubicBezTo>
                      <a:cubicBezTo>
                        <a:pt x="592951" y="1510054"/>
                        <a:pt x="592951" y="1510054"/>
                        <a:pt x="592951" y="1510054"/>
                      </a:cubicBezTo>
                      <a:cubicBezTo>
                        <a:pt x="589973" y="1510054"/>
                        <a:pt x="586995" y="1513030"/>
                        <a:pt x="586995" y="1518981"/>
                      </a:cubicBezTo>
                      <a:cubicBezTo>
                        <a:pt x="601885" y="1602300"/>
                        <a:pt x="601885" y="1602300"/>
                        <a:pt x="601885" y="1602300"/>
                      </a:cubicBezTo>
                      <a:cubicBezTo>
                        <a:pt x="601885" y="1608251"/>
                        <a:pt x="607842" y="1611227"/>
                        <a:pt x="610820" y="1611227"/>
                      </a:cubicBezTo>
                      <a:cubicBezTo>
                        <a:pt x="819289" y="1611227"/>
                        <a:pt x="819289" y="1611227"/>
                        <a:pt x="819289" y="1611227"/>
                      </a:cubicBezTo>
                      <a:cubicBezTo>
                        <a:pt x="825245" y="1611227"/>
                        <a:pt x="828223" y="1614202"/>
                        <a:pt x="828223" y="1620154"/>
                      </a:cubicBezTo>
                      <a:cubicBezTo>
                        <a:pt x="828223" y="1691570"/>
                        <a:pt x="828223" y="1691570"/>
                        <a:pt x="828223" y="1691570"/>
                      </a:cubicBezTo>
                      <a:cubicBezTo>
                        <a:pt x="828223" y="1694546"/>
                        <a:pt x="825245" y="1697521"/>
                        <a:pt x="819289" y="1697521"/>
                      </a:cubicBezTo>
                      <a:cubicBezTo>
                        <a:pt x="628688" y="1697521"/>
                        <a:pt x="628688" y="1697521"/>
                        <a:pt x="628688" y="1697521"/>
                      </a:cubicBezTo>
                      <a:cubicBezTo>
                        <a:pt x="625710" y="1697521"/>
                        <a:pt x="619754" y="1703473"/>
                        <a:pt x="619754" y="1706448"/>
                      </a:cubicBezTo>
                      <a:cubicBezTo>
                        <a:pt x="634645" y="1792743"/>
                        <a:pt x="634645" y="1792743"/>
                        <a:pt x="634645" y="1792743"/>
                      </a:cubicBezTo>
                      <a:cubicBezTo>
                        <a:pt x="637623" y="1795718"/>
                        <a:pt x="637623" y="1798694"/>
                        <a:pt x="643579" y="1798694"/>
                      </a:cubicBezTo>
                      <a:cubicBezTo>
                        <a:pt x="819289" y="1798694"/>
                        <a:pt x="819289" y="1798694"/>
                        <a:pt x="819289" y="1798694"/>
                      </a:cubicBezTo>
                      <a:cubicBezTo>
                        <a:pt x="825245" y="1798694"/>
                        <a:pt x="828223" y="1801670"/>
                        <a:pt x="828223" y="1807621"/>
                      </a:cubicBezTo>
                      <a:cubicBezTo>
                        <a:pt x="828223" y="1879037"/>
                        <a:pt x="828223" y="1879037"/>
                        <a:pt x="828223" y="1879037"/>
                      </a:cubicBezTo>
                      <a:cubicBezTo>
                        <a:pt x="828223" y="1884989"/>
                        <a:pt x="825245" y="1887964"/>
                        <a:pt x="819289" y="1887964"/>
                      </a:cubicBezTo>
                      <a:cubicBezTo>
                        <a:pt x="661448" y="1887964"/>
                        <a:pt x="661448" y="1887964"/>
                        <a:pt x="661448" y="1887964"/>
                      </a:cubicBezTo>
                      <a:cubicBezTo>
                        <a:pt x="655492" y="1887964"/>
                        <a:pt x="652514" y="1890940"/>
                        <a:pt x="652514" y="1896891"/>
                      </a:cubicBezTo>
                      <a:cubicBezTo>
                        <a:pt x="667404" y="1965332"/>
                        <a:pt x="667404" y="1965332"/>
                        <a:pt x="667404" y="1965332"/>
                      </a:cubicBezTo>
                      <a:cubicBezTo>
                        <a:pt x="667404" y="1965332"/>
                        <a:pt x="667404" y="1965332"/>
                        <a:pt x="667404" y="1968307"/>
                      </a:cubicBezTo>
                      <a:cubicBezTo>
                        <a:pt x="667404" y="1980210"/>
                        <a:pt x="676339" y="1989137"/>
                        <a:pt x="688251" y="1989137"/>
                      </a:cubicBezTo>
                      <a:cubicBezTo>
                        <a:pt x="1566801" y="1989137"/>
                        <a:pt x="1566801" y="1989137"/>
                        <a:pt x="1566801" y="1989137"/>
                      </a:cubicBezTo>
                      <a:cubicBezTo>
                        <a:pt x="1581692" y="1989137"/>
                        <a:pt x="1590626" y="1980210"/>
                        <a:pt x="1590626" y="1965332"/>
                      </a:cubicBezTo>
                      <a:cubicBezTo>
                        <a:pt x="1602538" y="1896891"/>
                        <a:pt x="1602538" y="1896891"/>
                        <a:pt x="1602538" y="1896891"/>
                      </a:cubicBezTo>
                      <a:cubicBezTo>
                        <a:pt x="1605517" y="1890940"/>
                        <a:pt x="1599560" y="1887964"/>
                        <a:pt x="1596582" y="1887964"/>
                      </a:cubicBezTo>
                      <a:cubicBezTo>
                        <a:pt x="1435763" y="1887964"/>
                        <a:pt x="1435763" y="1887964"/>
                        <a:pt x="1435763" y="1887964"/>
                      </a:cubicBezTo>
                      <a:cubicBezTo>
                        <a:pt x="1429807" y="1887964"/>
                        <a:pt x="1426829" y="1884989"/>
                        <a:pt x="1426829" y="1879037"/>
                      </a:cubicBezTo>
                      <a:cubicBezTo>
                        <a:pt x="1426829" y="1807621"/>
                        <a:pt x="1426829" y="1807621"/>
                        <a:pt x="1426829" y="1807621"/>
                      </a:cubicBezTo>
                      <a:cubicBezTo>
                        <a:pt x="1426829" y="1801670"/>
                        <a:pt x="1429807" y="1798694"/>
                        <a:pt x="1435763" y="1798694"/>
                      </a:cubicBezTo>
                      <a:cubicBezTo>
                        <a:pt x="1611473" y="1798694"/>
                        <a:pt x="1611473" y="1798694"/>
                        <a:pt x="1611473" y="1798694"/>
                      </a:cubicBezTo>
                      <a:cubicBezTo>
                        <a:pt x="1614451" y="1798694"/>
                        <a:pt x="1617429" y="1795718"/>
                        <a:pt x="1617429" y="1792743"/>
                      </a:cubicBezTo>
                      <a:cubicBezTo>
                        <a:pt x="1632320" y="1706448"/>
                        <a:pt x="1632320" y="1706448"/>
                        <a:pt x="1632320" y="1706448"/>
                      </a:cubicBezTo>
                      <a:cubicBezTo>
                        <a:pt x="1632320" y="1703473"/>
                        <a:pt x="1629342" y="1697521"/>
                        <a:pt x="1623385" y="1697521"/>
                      </a:cubicBezTo>
                      <a:cubicBezTo>
                        <a:pt x="1435763" y="1697521"/>
                        <a:pt x="1435763" y="1697521"/>
                        <a:pt x="1435763" y="1697521"/>
                      </a:cubicBezTo>
                      <a:cubicBezTo>
                        <a:pt x="1429807" y="1697521"/>
                        <a:pt x="1426829" y="1694546"/>
                        <a:pt x="1426829" y="1691570"/>
                      </a:cubicBezTo>
                      <a:cubicBezTo>
                        <a:pt x="1426829" y="1620154"/>
                        <a:pt x="1426829" y="1620154"/>
                        <a:pt x="1426829" y="1620154"/>
                      </a:cubicBezTo>
                      <a:cubicBezTo>
                        <a:pt x="1426829" y="1614202"/>
                        <a:pt x="1429807" y="1611227"/>
                        <a:pt x="1435763" y="1611227"/>
                      </a:cubicBezTo>
                      <a:cubicBezTo>
                        <a:pt x="1641254" y="1611227"/>
                        <a:pt x="1641254" y="1611227"/>
                        <a:pt x="1641254" y="1611227"/>
                      </a:cubicBezTo>
                      <a:cubicBezTo>
                        <a:pt x="1644232" y="1611227"/>
                        <a:pt x="1647210" y="1608251"/>
                        <a:pt x="1647210" y="1602300"/>
                      </a:cubicBezTo>
                      <a:cubicBezTo>
                        <a:pt x="1659123" y="1518981"/>
                        <a:pt x="1659123" y="1518981"/>
                        <a:pt x="1659123" y="1518981"/>
                      </a:cubicBezTo>
                      <a:cubicBezTo>
                        <a:pt x="1662101" y="1513030"/>
                        <a:pt x="1656145" y="1510054"/>
                        <a:pt x="1653167" y="1510054"/>
                      </a:cubicBezTo>
                      <a:cubicBezTo>
                        <a:pt x="1435763" y="1510054"/>
                        <a:pt x="1435763" y="1510054"/>
                        <a:pt x="1435763" y="1510054"/>
                      </a:cubicBezTo>
                      <a:cubicBezTo>
                        <a:pt x="1429807" y="1510054"/>
                        <a:pt x="1426829" y="1507078"/>
                        <a:pt x="1426829" y="1501127"/>
                      </a:cubicBezTo>
                      <a:cubicBezTo>
                        <a:pt x="1426829" y="1429711"/>
                        <a:pt x="1426829" y="1429711"/>
                        <a:pt x="1426829" y="1429711"/>
                      </a:cubicBezTo>
                      <a:cubicBezTo>
                        <a:pt x="1426829" y="1423759"/>
                        <a:pt x="1429807" y="1423759"/>
                        <a:pt x="1435763" y="1423759"/>
                      </a:cubicBezTo>
                      <a:cubicBezTo>
                        <a:pt x="1668057" y="1423759"/>
                        <a:pt x="1668057" y="1423759"/>
                        <a:pt x="1668057" y="1423759"/>
                      </a:cubicBezTo>
                      <a:cubicBezTo>
                        <a:pt x="1674014" y="1423759"/>
                        <a:pt x="1674014" y="1417808"/>
                        <a:pt x="1674014" y="1414832"/>
                      </a:cubicBezTo>
                      <a:cubicBezTo>
                        <a:pt x="1685926" y="1349368"/>
                        <a:pt x="1685926" y="1349368"/>
                        <a:pt x="1685926" y="1349368"/>
                      </a:cubicBezTo>
                      <a:cubicBezTo>
                        <a:pt x="1685926" y="1337465"/>
                        <a:pt x="1674014" y="1325562"/>
                        <a:pt x="1662101" y="1325562"/>
                      </a:cubicBezTo>
                      <a:cubicBezTo>
                        <a:pt x="581038" y="1325562"/>
                        <a:pt x="581038" y="1325562"/>
                        <a:pt x="581038" y="1325562"/>
                      </a:cubicBezTo>
                      <a:close/>
                      <a:moveTo>
                        <a:pt x="259347" y="1182687"/>
                      </a:moveTo>
                      <a:cubicBezTo>
                        <a:pt x="238517" y="1182687"/>
                        <a:pt x="220663" y="1200531"/>
                        <a:pt x="220663" y="1221350"/>
                      </a:cubicBezTo>
                      <a:cubicBezTo>
                        <a:pt x="220663" y="1245142"/>
                        <a:pt x="238517" y="1260012"/>
                        <a:pt x="259347" y="1260012"/>
                      </a:cubicBezTo>
                      <a:cubicBezTo>
                        <a:pt x="259347" y="1260012"/>
                        <a:pt x="259347" y="1260012"/>
                        <a:pt x="417055" y="1260012"/>
                      </a:cubicBezTo>
                      <a:cubicBezTo>
                        <a:pt x="417055" y="1260012"/>
                        <a:pt x="417055" y="1260012"/>
                        <a:pt x="559886" y="2092747"/>
                      </a:cubicBezTo>
                      <a:cubicBezTo>
                        <a:pt x="565837" y="2110591"/>
                        <a:pt x="580716" y="2122487"/>
                        <a:pt x="598569" y="2122487"/>
                      </a:cubicBezTo>
                      <a:cubicBezTo>
                        <a:pt x="598569" y="2122487"/>
                        <a:pt x="598569" y="2122487"/>
                        <a:pt x="1461505" y="2122487"/>
                      </a:cubicBezTo>
                      <a:cubicBezTo>
                        <a:pt x="1482334" y="2122487"/>
                        <a:pt x="1500188" y="2104643"/>
                        <a:pt x="1500188" y="2083824"/>
                      </a:cubicBezTo>
                      <a:cubicBezTo>
                        <a:pt x="1500188" y="2063006"/>
                        <a:pt x="1482334" y="2045162"/>
                        <a:pt x="1461505" y="2045162"/>
                      </a:cubicBezTo>
                      <a:cubicBezTo>
                        <a:pt x="1461505" y="2045162"/>
                        <a:pt x="1461505" y="2045162"/>
                        <a:pt x="631301" y="2045162"/>
                      </a:cubicBezTo>
                      <a:cubicBezTo>
                        <a:pt x="631301" y="2045162"/>
                        <a:pt x="631301" y="2045162"/>
                        <a:pt x="488471" y="1215402"/>
                      </a:cubicBezTo>
                      <a:cubicBezTo>
                        <a:pt x="485495" y="1197557"/>
                        <a:pt x="467641" y="1182687"/>
                        <a:pt x="449787" y="1182687"/>
                      </a:cubicBezTo>
                      <a:cubicBezTo>
                        <a:pt x="449787" y="1182687"/>
                        <a:pt x="449787" y="1182687"/>
                        <a:pt x="259347" y="1182687"/>
                      </a:cubicBezTo>
                      <a:close/>
                      <a:moveTo>
                        <a:pt x="29766" y="319087"/>
                      </a:moveTo>
                      <a:cubicBezTo>
                        <a:pt x="1875235" y="319087"/>
                        <a:pt x="1875235" y="319087"/>
                        <a:pt x="1875235" y="319087"/>
                      </a:cubicBezTo>
                      <a:cubicBezTo>
                        <a:pt x="1890117" y="319087"/>
                        <a:pt x="1905000" y="333970"/>
                        <a:pt x="1905000" y="348853"/>
                      </a:cubicBezTo>
                      <a:cubicBezTo>
                        <a:pt x="1905000" y="3265884"/>
                        <a:pt x="1905000" y="3265884"/>
                        <a:pt x="1905000" y="3265884"/>
                      </a:cubicBezTo>
                      <a:cubicBezTo>
                        <a:pt x="1905000" y="3283744"/>
                        <a:pt x="1890117" y="3295650"/>
                        <a:pt x="1875235" y="3295650"/>
                      </a:cubicBezTo>
                      <a:cubicBezTo>
                        <a:pt x="29766" y="3295650"/>
                        <a:pt x="29766" y="3295650"/>
                        <a:pt x="29766" y="3295650"/>
                      </a:cubicBezTo>
                      <a:cubicBezTo>
                        <a:pt x="11906" y="3295650"/>
                        <a:pt x="0" y="3283744"/>
                        <a:pt x="0" y="3265884"/>
                      </a:cubicBezTo>
                      <a:cubicBezTo>
                        <a:pt x="0" y="348853"/>
                        <a:pt x="0" y="348853"/>
                        <a:pt x="0" y="348853"/>
                      </a:cubicBezTo>
                      <a:cubicBezTo>
                        <a:pt x="0" y="333970"/>
                        <a:pt x="11906" y="319087"/>
                        <a:pt x="29766" y="319087"/>
                      </a:cubicBezTo>
                      <a:close/>
                      <a:moveTo>
                        <a:pt x="581451" y="0"/>
                      </a:moveTo>
                      <a:cubicBezTo>
                        <a:pt x="1337838" y="0"/>
                        <a:pt x="1337838" y="0"/>
                        <a:pt x="1337838" y="0"/>
                      </a:cubicBezTo>
                      <a:cubicBezTo>
                        <a:pt x="1373572" y="0"/>
                        <a:pt x="1403351" y="29986"/>
                        <a:pt x="1403351" y="65970"/>
                      </a:cubicBezTo>
                      <a:cubicBezTo>
                        <a:pt x="1403351" y="104952"/>
                        <a:pt x="1373572" y="134938"/>
                        <a:pt x="1337838" y="134938"/>
                      </a:cubicBezTo>
                      <a:cubicBezTo>
                        <a:pt x="581451" y="134938"/>
                        <a:pt x="581451" y="134938"/>
                        <a:pt x="581451" y="134938"/>
                      </a:cubicBezTo>
                      <a:cubicBezTo>
                        <a:pt x="542739" y="134938"/>
                        <a:pt x="515938" y="104952"/>
                        <a:pt x="515938" y="65970"/>
                      </a:cubicBezTo>
                      <a:cubicBezTo>
                        <a:pt x="515938" y="29986"/>
                        <a:pt x="542739" y="0"/>
                        <a:pt x="581451" y="0"/>
                      </a:cubicBezTo>
                      <a:close/>
                    </a:path>
                  </a:pathLst>
                </a:custGeom>
                <a:solidFill>
                  <a:srgbClr val="98A6CC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</p:grpSp>
        </p:grpSp>
      </p:grpSp>
      <p:grpSp>
        <p:nvGrpSpPr>
          <p:cNvPr id="42" name="Group 41"/>
          <p:cNvGrpSpPr>
            <a:grpSpLocks noChangeAspect="1"/>
          </p:cNvGrpSpPr>
          <p:nvPr/>
        </p:nvGrpSpPr>
        <p:grpSpPr>
          <a:xfrm>
            <a:off x="2535638" y="4749000"/>
            <a:ext cx="368292" cy="368292"/>
            <a:chOff x="1854516" y="1847850"/>
            <a:chExt cx="269875" cy="269875"/>
          </a:xfrm>
        </p:grpSpPr>
        <p:sp>
          <p:nvSpPr>
            <p:cNvPr id="43" name="Oval 50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44" name="Freeform 51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50" name="Group 49"/>
          <p:cNvGrpSpPr>
            <a:grpSpLocks noChangeAspect="1"/>
          </p:cNvGrpSpPr>
          <p:nvPr/>
        </p:nvGrpSpPr>
        <p:grpSpPr>
          <a:xfrm>
            <a:off x="4787858" y="4749000"/>
            <a:ext cx="368292" cy="368292"/>
            <a:chOff x="1854516" y="1847850"/>
            <a:chExt cx="269875" cy="269875"/>
          </a:xfrm>
        </p:grpSpPr>
        <p:sp>
          <p:nvSpPr>
            <p:cNvPr id="51" name="Oval 50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53" name="Group 52"/>
          <p:cNvGrpSpPr>
            <a:grpSpLocks noChangeAspect="1"/>
          </p:cNvGrpSpPr>
          <p:nvPr/>
        </p:nvGrpSpPr>
        <p:grpSpPr>
          <a:xfrm>
            <a:off x="7040078" y="4749000"/>
            <a:ext cx="368292" cy="368292"/>
            <a:chOff x="1854516" y="1847850"/>
            <a:chExt cx="269875" cy="269875"/>
          </a:xfrm>
        </p:grpSpPr>
        <p:sp>
          <p:nvSpPr>
            <p:cNvPr id="54" name="Oval 53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56" name="Group 55"/>
          <p:cNvGrpSpPr>
            <a:grpSpLocks noChangeAspect="1"/>
          </p:cNvGrpSpPr>
          <p:nvPr/>
        </p:nvGrpSpPr>
        <p:grpSpPr>
          <a:xfrm>
            <a:off x="9292298" y="4749000"/>
            <a:ext cx="368292" cy="368292"/>
            <a:chOff x="1854516" y="1847850"/>
            <a:chExt cx="269875" cy="269875"/>
          </a:xfrm>
        </p:grpSpPr>
        <p:sp>
          <p:nvSpPr>
            <p:cNvPr id="57" name="Oval 56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sp>
        <p:nvSpPr>
          <p:cNvPr id="59" name="Oval 20"/>
          <p:cNvSpPr>
            <a:spLocks noChangeAspect="1" noChangeArrowheads="1"/>
          </p:cNvSpPr>
          <p:nvPr/>
        </p:nvSpPr>
        <p:spPr bwMode="auto">
          <a:xfrm>
            <a:off x="630000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1</a:t>
            </a:r>
          </a:p>
        </p:txBody>
      </p:sp>
      <p:sp>
        <p:nvSpPr>
          <p:cNvPr id="60" name="Oval 20"/>
          <p:cNvSpPr>
            <a:spLocks noChangeAspect="1" noChangeArrowheads="1"/>
          </p:cNvSpPr>
          <p:nvPr/>
        </p:nvSpPr>
        <p:spPr bwMode="auto">
          <a:xfrm>
            <a:off x="2882219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2</a:t>
            </a:r>
          </a:p>
        </p:txBody>
      </p:sp>
      <p:sp>
        <p:nvSpPr>
          <p:cNvPr id="61" name="Oval 20"/>
          <p:cNvSpPr>
            <a:spLocks noChangeAspect="1" noChangeArrowheads="1"/>
          </p:cNvSpPr>
          <p:nvPr/>
        </p:nvSpPr>
        <p:spPr bwMode="auto">
          <a:xfrm>
            <a:off x="5134438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3</a:t>
            </a:r>
          </a:p>
        </p:txBody>
      </p:sp>
      <p:sp>
        <p:nvSpPr>
          <p:cNvPr id="62" name="Oval 20"/>
          <p:cNvSpPr>
            <a:spLocks noChangeAspect="1" noChangeArrowheads="1"/>
          </p:cNvSpPr>
          <p:nvPr/>
        </p:nvSpPr>
        <p:spPr bwMode="auto">
          <a:xfrm>
            <a:off x="7386657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4</a:t>
            </a:r>
          </a:p>
        </p:txBody>
      </p:sp>
      <p:sp>
        <p:nvSpPr>
          <p:cNvPr id="63" name="Oval 20"/>
          <p:cNvSpPr>
            <a:spLocks noChangeAspect="1" noChangeArrowheads="1"/>
          </p:cNvSpPr>
          <p:nvPr/>
        </p:nvSpPr>
        <p:spPr bwMode="auto">
          <a:xfrm>
            <a:off x="9638877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5</a:t>
            </a:r>
          </a:p>
        </p:txBody>
      </p:sp>
      <p:sp>
        <p:nvSpPr>
          <p:cNvPr id="66" name="Freeform 65"/>
          <p:cNvSpPr/>
          <p:nvPr/>
        </p:nvSpPr>
        <p:spPr>
          <a:xfrm>
            <a:off x="3116472" y="2584238"/>
            <a:ext cx="4499590" cy="1717599"/>
          </a:xfrm>
          <a:custGeom>
            <a:avLst/>
            <a:gdLst>
              <a:gd name="connsiteX0" fmla="*/ 0 w 4600575"/>
              <a:gd name="connsiteY0" fmla="*/ 866775 h 1962150"/>
              <a:gd name="connsiteX1" fmla="*/ 571500 w 4600575"/>
              <a:gd name="connsiteY1" fmla="*/ 514350 h 1962150"/>
              <a:gd name="connsiteX2" fmla="*/ 1838325 w 4600575"/>
              <a:gd name="connsiteY2" fmla="*/ 1238250 h 1962150"/>
              <a:gd name="connsiteX3" fmla="*/ 4038600 w 4600575"/>
              <a:gd name="connsiteY3" fmla="*/ 0 h 1962150"/>
              <a:gd name="connsiteX4" fmla="*/ 4600575 w 4600575"/>
              <a:gd name="connsiteY4" fmla="*/ 371475 h 1962150"/>
              <a:gd name="connsiteX5" fmla="*/ 1847850 w 4600575"/>
              <a:gd name="connsiteY5" fmla="*/ 1962150 h 1962150"/>
              <a:gd name="connsiteX6" fmla="*/ 0 w 4600575"/>
              <a:gd name="connsiteY6" fmla="*/ 866775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0575" h="1962150">
                <a:moveTo>
                  <a:pt x="0" y="866775"/>
                </a:moveTo>
                <a:lnTo>
                  <a:pt x="571500" y="514350"/>
                </a:lnTo>
                <a:lnTo>
                  <a:pt x="1838325" y="1238250"/>
                </a:lnTo>
                <a:lnTo>
                  <a:pt x="4038600" y="0"/>
                </a:lnTo>
                <a:lnTo>
                  <a:pt x="4600575" y="371475"/>
                </a:lnTo>
                <a:lnTo>
                  <a:pt x="1847850" y="1962150"/>
                </a:lnTo>
                <a:lnTo>
                  <a:pt x="0" y="866775"/>
                </a:lnTo>
                <a:close/>
              </a:path>
            </a:pathLst>
          </a:custGeom>
          <a:solidFill>
            <a:srgbClr val="F2EB3B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bg-BG" sz="1200" dirty="0">
              <a:solidFill>
                <a:srgbClr val="FFFFFF"/>
              </a:solidFill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grpSp>
        <p:nvGrpSpPr>
          <p:cNvPr id="163" name="Group 162"/>
          <p:cNvGrpSpPr>
            <a:grpSpLocks noChangeAspect="1"/>
          </p:cNvGrpSpPr>
          <p:nvPr/>
        </p:nvGrpSpPr>
        <p:grpSpPr>
          <a:xfrm>
            <a:off x="3629052" y="2442495"/>
            <a:ext cx="457200" cy="457623"/>
            <a:chOff x="5273799" y="2606040"/>
            <a:chExt cx="1644396" cy="1645920"/>
          </a:xfrm>
        </p:grpSpPr>
        <p:sp>
          <p:nvSpPr>
            <p:cNvPr id="164" name="AutoShape 13">
              <a:extLst>
                <a:ext uri="{FF2B5EF4-FFF2-40B4-BE49-F238E27FC236}">
                  <a16:creationId xmlns:a16="http://schemas.microsoft.com/office/drawing/2014/main" id="{A6B62B7F-B1B2-4803-95E8-2DB8A96A0D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65" name="Group 164"/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166" name="Freeform 15">
                <a:extLst>
                  <a:ext uri="{FF2B5EF4-FFF2-40B4-BE49-F238E27FC236}">
                    <a16:creationId xmlns:a16="http://schemas.microsoft.com/office/drawing/2014/main" id="{C49F8F87-804D-4785-B3FF-71E118F98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67" name="Freeform 16">
                <a:extLst>
                  <a:ext uri="{FF2B5EF4-FFF2-40B4-BE49-F238E27FC236}">
                    <a16:creationId xmlns:a16="http://schemas.microsoft.com/office/drawing/2014/main" id="{D5D864F2-D4FC-4684-89BF-B212682AA9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sp>
        <p:nvSpPr>
          <p:cNvPr id="69" name="TextBox 68"/>
          <p:cNvSpPr txBox="1"/>
          <p:nvPr/>
        </p:nvSpPr>
        <p:spPr>
          <a:xfrm>
            <a:off x="4249436" y="2438523"/>
            <a:ext cx="654025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Логистика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030144" y="2438523"/>
            <a:ext cx="541815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Магазин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846402" y="2111105"/>
            <a:ext cx="371897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Касса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6353932" y="1752577"/>
            <a:ext cx="828753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Потребитель</a:t>
            </a:r>
          </a:p>
        </p:txBody>
      </p:sp>
      <p:grpSp>
        <p:nvGrpSpPr>
          <p:cNvPr id="168" name="bcgIcons_LargeTruck">
            <a:extLst>
              <a:ext uri="{FF2B5EF4-FFF2-40B4-BE49-F238E27FC236}">
                <a16:creationId xmlns:a16="http://schemas.microsoft.com/office/drawing/2014/main" id="{BF4B8ACE-C65D-4D32-8A49-32EA8B16FE2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7849" y="2872728"/>
            <a:ext cx="457200" cy="457623"/>
            <a:chOff x="1682" y="0"/>
            <a:chExt cx="4316" cy="4320"/>
          </a:xfrm>
        </p:grpSpPr>
        <p:sp>
          <p:nvSpPr>
            <p:cNvPr id="169" name="AutoShape 19">
              <a:extLst>
                <a:ext uri="{FF2B5EF4-FFF2-40B4-BE49-F238E27FC236}">
                  <a16:creationId xmlns:a16="http://schemas.microsoft.com/office/drawing/2014/main" id="{87A709C4-C460-42AC-8D6F-850C534249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70" name="Freeform 21">
              <a:extLst>
                <a:ext uri="{FF2B5EF4-FFF2-40B4-BE49-F238E27FC236}">
                  <a16:creationId xmlns:a16="http://schemas.microsoft.com/office/drawing/2014/main" id="{5B97506B-F2E5-432C-AC70-CC2D99DA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2" y="1588"/>
              <a:ext cx="3562" cy="1601"/>
            </a:xfrm>
            <a:custGeom>
              <a:avLst/>
              <a:gdLst>
                <a:gd name="T0" fmla="*/ 1902 w 1902"/>
                <a:gd name="T1" fmla="*/ 325 h 854"/>
                <a:gd name="T2" fmla="*/ 1902 w 1902"/>
                <a:gd name="T3" fmla="*/ 645 h 854"/>
                <a:gd name="T4" fmla="*/ 1879 w 1902"/>
                <a:gd name="T5" fmla="*/ 667 h 854"/>
                <a:gd name="T6" fmla="*/ 1741 w 1902"/>
                <a:gd name="T7" fmla="*/ 667 h 854"/>
                <a:gd name="T8" fmla="*/ 1723 w 1902"/>
                <a:gd name="T9" fmla="*/ 623 h 854"/>
                <a:gd name="T10" fmla="*/ 1858 w 1902"/>
                <a:gd name="T11" fmla="*/ 623 h 854"/>
                <a:gd name="T12" fmla="*/ 1858 w 1902"/>
                <a:gd name="T13" fmla="*/ 338 h 854"/>
                <a:gd name="T14" fmla="*/ 1664 w 1902"/>
                <a:gd name="T15" fmla="*/ 44 h 854"/>
                <a:gd name="T16" fmla="*/ 1325 w 1902"/>
                <a:gd name="T17" fmla="*/ 44 h 854"/>
                <a:gd name="T18" fmla="*/ 1325 w 1902"/>
                <a:gd name="T19" fmla="*/ 623 h 854"/>
                <a:gd name="T20" fmla="*/ 1405 w 1902"/>
                <a:gd name="T21" fmla="*/ 623 h 854"/>
                <a:gd name="T22" fmla="*/ 1387 w 1902"/>
                <a:gd name="T23" fmla="*/ 667 h 854"/>
                <a:gd name="T24" fmla="*/ 1303 w 1902"/>
                <a:gd name="T25" fmla="*/ 667 h 854"/>
                <a:gd name="T26" fmla="*/ 1281 w 1902"/>
                <a:gd name="T27" fmla="*/ 645 h 854"/>
                <a:gd name="T28" fmla="*/ 1281 w 1902"/>
                <a:gd name="T29" fmla="*/ 21 h 854"/>
                <a:gd name="T30" fmla="*/ 1303 w 1902"/>
                <a:gd name="T31" fmla="*/ 0 h 854"/>
                <a:gd name="T32" fmla="*/ 1688 w 1902"/>
                <a:gd name="T33" fmla="*/ 0 h 854"/>
                <a:gd name="T34" fmla="*/ 1902 w 1902"/>
                <a:gd name="T35" fmla="*/ 325 h 854"/>
                <a:gd name="T36" fmla="*/ 1705 w 1902"/>
                <a:gd name="T37" fmla="*/ 713 h 854"/>
                <a:gd name="T38" fmla="*/ 1564 w 1902"/>
                <a:gd name="T39" fmla="*/ 572 h 854"/>
                <a:gd name="T40" fmla="*/ 1423 w 1902"/>
                <a:gd name="T41" fmla="*/ 713 h 854"/>
                <a:gd name="T42" fmla="*/ 1569 w 1902"/>
                <a:gd name="T43" fmla="*/ 854 h 854"/>
                <a:gd name="T44" fmla="*/ 1705 w 1902"/>
                <a:gd name="T45" fmla="*/ 713 h 854"/>
                <a:gd name="T46" fmla="*/ 1657 w 1902"/>
                <a:gd name="T47" fmla="*/ 713 h 854"/>
                <a:gd name="T48" fmla="*/ 1564 w 1902"/>
                <a:gd name="T49" fmla="*/ 806 h 854"/>
                <a:gd name="T50" fmla="*/ 1472 w 1902"/>
                <a:gd name="T51" fmla="*/ 713 h 854"/>
                <a:gd name="T52" fmla="*/ 1564 w 1902"/>
                <a:gd name="T53" fmla="*/ 620 h 854"/>
                <a:gd name="T54" fmla="*/ 1657 w 1902"/>
                <a:gd name="T55" fmla="*/ 713 h 854"/>
                <a:gd name="T56" fmla="*/ 403 w 1902"/>
                <a:gd name="T57" fmla="*/ 713 h 854"/>
                <a:gd name="T58" fmla="*/ 262 w 1902"/>
                <a:gd name="T59" fmla="*/ 572 h 854"/>
                <a:gd name="T60" fmla="*/ 121 w 1902"/>
                <a:gd name="T61" fmla="*/ 713 h 854"/>
                <a:gd name="T62" fmla="*/ 267 w 1902"/>
                <a:gd name="T63" fmla="*/ 854 h 854"/>
                <a:gd name="T64" fmla="*/ 403 w 1902"/>
                <a:gd name="T65" fmla="*/ 713 h 854"/>
                <a:gd name="T66" fmla="*/ 354 w 1902"/>
                <a:gd name="T67" fmla="*/ 713 h 854"/>
                <a:gd name="T68" fmla="*/ 262 w 1902"/>
                <a:gd name="T69" fmla="*/ 806 h 854"/>
                <a:gd name="T70" fmla="*/ 169 w 1902"/>
                <a:gd name="T71" fmla="*/ 713 h 854"/>
                <a:gd name="T72" fmla="*/ 262 w 1902"/>
                <a:gd name="T73" fmla="*/ 620 h 854"/>
                <a:gd name="T74" fmla="*/ 354 w 1902"/>
                <a:gd name="T75" fmla="*/ 713 h 854"/>
                <a:gd name="T76" fmla="*/ 1227 w 1902"/>
                <a:gd name="T77" fmla="*/ 468 h 854"/>
                <a:gd name="T78" fmla="*/ 21 w 1902"/>
                <a:gd name="T79" fmla="*/ 468 h 854"/>
                <a:gd name="T80" fmla="*/ 0 w 1902"/>
                <a:gd name="T81" fmla="*/ 489 h 854"/>
                <a:gd name="T82" fmla="*/ 0 w 1902"/>
                <a:gd name="T83" fmla="*/ 646 h 854"/>
                <a:gd name="T84" fmla="*/ 21 w 1902"/>
                <a:gd name="T85" fmla="*/ 667 h 854"/>
                <a:gd name="T86" fmla="*/ 83 w 1902"/>
                <a:gd name="T87" fmla="*/ 667 h 854"/>
                <a:gd name="T88" fmla="*/ 262 w 1902"/>
                <a:gd name="T89" fmla="*/ 528 h 854"/>
                <a:gd name="T90" fmla="*/ 441 w 1902"/>
                <a:gd name="T91" fmla="*/ 667 h 854"/>
                <a:gd name="T92" fmla="*/ 1227 w 1902"/>
                <a:gd name="T93" fmla="*/ 667 h 854"/>
                <a:gd name="T94" fmla="*/ 1231 w 1902"/>
                <a:gd name="T95" fmla="*/ 667 h 854"/>
                <a:gd name="T96" fmla="*/ 1231 w 1902"/>
                <a:gd name="T97" fmla="*/ 468 h 854"/>
                <a:gd name="T98" fmla="*/ 1227 w 1902"/>
                <a:gd name="T99" fmla="*/ 468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02" h="854">
                  <a:moveTo>
                    <a:pt x="1902" y="325"/>
                  </a:moveTo>
                  <a:cubicBezTo>
                    <a:pt x="1902" y="645"/>
                    <a:pt x="1902" y="645"/>
                    <a:pt x="1902" y="645"/>
                  </a:cubicBezTo>
                  <a:cubicBezTo>
                    <a:pt x="1902" y="657"/>
                    <a:pt x="1892" y="667"/>
                    <a:pt x="1879" y="667"/>
                  </a:cubicBezTo>
                  <a:cubicBezTo>
                    <a:pt x="1741" y="667"/>
                    <a:pt x="1741" y="667"/>
                    <a:pt x="1741" y="667"/>
                  </a:cubicBezTo>
                  <a:cubicBezTo>
                    <a:pt x="1737" y="651"/>
                    <a:pt x="1731" y="637"/>
                    <a:pt x="1723" y="623"/>
                  </a:cubicBezTo>
                  <a:cubicBezTo>
                    <a:pt x="1858" y="623"/>
                    <a:pt x="1858" y="623"/>
                    <a:pt x="1858" y="623"/>
                  </a:cubicBezTo>
                  <a:cubicBezTo>
                    <a:pt x="1858" y="338"/>
                    <a:pt x="1858" y="338"/>
                    <a:pt x="1858" y="338"/>
                  </a:cubicBezTo>
                  <a:cubicBezTo>
                    <a:pt x="1664" y="44"/>
                    <a:pt x="1664" y="44"/>
                    <a:pt x="1664" y="44"/>
                  </a:cubicBezTo>
                  <a:cubicBezTo>
                    <a:pt x="1325" y="44"/>
                    <a:pt x="1325" y="44"/>
                    <a:pt x="1325" y="44"/>
                  </a:cubicBezTo>
                  <a:cubicBezTo>
                    <a:pt x="1325" y="623"/>
                    <a:pt x="1325" y="623"/>
                    <a:pt x="1325" y="623"/>
                  </a:cubicBezTo>
                  <a:cubicBezTo>
                    <a:pt x="1405" y="623"/>
                    <a:pt x="1405" y="623"/>
                    <a:pt x="1405" y="623"/>
                  </a:cubicBezTo>
                  <a:cubicBezTo>
                    <a:pt x="1398" y="637"/>
                    <a:pt x="1391" y="651"/>
                    <a:pt x="1387" y="667"/>
                  </a:cubicBezTo>
                  <a:cubicBezTo>
                    <a:pt x="1303" y="667"/>
                    <a:pt x="1303" y="667"/>
                    <a:pt x="1303" y="667"/>
                  </a:cubicBezTo>
                  <a:cubicBezTo>
                    <a:pt x="1291" y="667"/>
                    <a:pt x="1281" y="657"/>
                    <a:pt x="1281" y="645"/>
                  </a:cubicBezTo>
                  <a:cubicBezTo>
                    <a:pt x="1281" y="21"/>
                    <a:pt x="1281" y="21"/>
                    <a:pt x="1281" y="21"/>
                  </a:cubicBezTo>
                  <a:cubicBezTo>
                    <a:pt x="1281" y="9"/>
                    <a:pt x="1291" y="0"/>
                    <a:pt x="1303" y="0"/>
                  </a:cubicBezTo>
                  <a:cubicBezTo>
                    <a:pt x="1688" y="0"/>
                    <a:pt x="1688" y="0"/>
                    <a:pt x="1688" y="0"/>
                  </a:cubicBezTo>
                  <a:lnTo>
                    <a:pt x="1902" y="325"/>
                  </a:lnTo>
                  <a:close/>
                  <a:moveTo>
                    <a:pt x="1705" y="713"/>
                  </a:moveTo>
                  <a:cubicBezTo>
                    <a:pt x="1705" y="635"/>
                    <a:pt x="1642" y="572"/>
                    <a:pt x="1564" y="572"/>
                  </a:cubicBezTo>
                  <a:cubicBezTo>
                    <a:pt x="1486" y="572"/>
                    <a:pt x="1423" y="635"/>
                    <a:pt x="1423" y="713"/>
                  </a:cubicBezTo>
                  <a:cubicBezTo>
                    <a:pt x="1423" y="791"/>
                    <a:pt x="1491" y="854"/>
                    <a:pt x="1569" y="854"/>
                  </a:cubicBezTo>
                  <a:cubicBezTo>
                    <a:pt x="1647" y="854"/>
                    <a:pt x="1705" y="791"/>
                    <a:pt x="1705" y="713"/>
                  </a:cubicBezTo>
                  <a:close/>
                  <a:moveTo>
                    <a:pt x="1657" y="713"/>
                  </a:moveTo>
                  <a:cubicBezTo>
                    <a:pt x="1657" y="764"/>
                    <a:pt x="1615" y="806"/>
                    <a:pt x="1564" y="806"/>
                  </a:cubicBezTo>
                  <a:cubicBezTo>
                    <a:pt x="1513" y="806"/>
                    <a:pt x="1472" y="764"/>
                    <a:pt x="1472" y="713"/>
                  </a:cubicBezTo>
                  <a:cubicBezTo>
                    <a:pt x="1472" y="662"/>
                    <a:pt x="1513" y="620"/>
                    <a:pt x="1564" y="620"/>
                  </a:cubicBezTo>
                  <a:cubicBezTo>
                    <a:pt x="1615" y="620"/>
                    <a:pt x="1657" y="662"/>
                    <a:pt x="1657" y="713"/>
                  </a:cubicBezTo>
                  <a:close/>
                  <a:moveTo>
                    <a:pt x="403" y="713"/>
                  </a:moveTo>
                  <a:cubicBezTo>
                    <a:pt x="403" y="635"/>
                    <a:pt x="340" y="572"/>
                    <a:pt x="262" y="572"/>
                  </a:cubicBezTo>
                  <a:cubicBezTo>
                    <a:pt x="184" y="572"/>
                    <a:pt x="121" y="635"/>
                    <a:pt x="121" y="713"/>
                  </a:cubicBezTo>
                  <a:cubicBezTo>
                    <a:pt x="121" y="791"/>
                    <a:pt x="189" y="854"/>
                    <a:pt x="267" y="854"/>
                  </a:cubicBezTo>
                  <a:cubicBezTo>
                    <a:pt x="344" y="854"/>
                    <a:pt x="403" y="791"/>
                    <a:pt x="403" y="713"/>
                  </a:cubicBezTo>
                  <a:close/>
                  <a:moveTo>
                    <a:pt x="354" y="713"/>
                  </a:moveTo>
                  <a:cubicBezTo>
                    <a:pt x="354" y="764"/>
                    <a:pt x="313" y="806"/>
                    <a:pt x="262" y="806"/>
                  </a:cubicBezTo>
                  <a:cubicBezTo>
                    <a:pt x="211" y="806"/>
                    <a:pt x="169" y="764"/>
                    <a:pt x="169" y="713"/>
                  </a:cubicBezTo>
                  <a:cubicBezTo>
                    <a:pt x="169" y="662"/>
                    <a:pt x="211" y="620"/>
                    <a:pt x="262" y="620"/>
                  </a:cubicBezTo>
                  <a:cubicBezTo>
                    <a:pt x="313" y="620"/>
                    <a:pt x="354" y="662"/>
                    <a:pt x="354" y="713"/>
                  </a:cubicBezTo>
                  <a:close/>
                  <a:moveTo>
                    <a:pt x="1227" y="468"/>
                  </a:moveTo>
                  <a:cubicBezTo>
                    <a:pt x="21" y="468"/>
                    <a:pt x="21" y="468"/>
                    <a:pt x="21" y="468"/>
                  </a:cubicBezTo>
                  <a:cubicBezTo>
                    <a:pt x="9" y="468"/>
                    <a:pt x="0" y="477"/>
                    <a:pt x="0" y="489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8"/>
                    <a:pt x="9" y="667"/>
                    <a:pt x="21" y="667"/>
                  </a:cubicBezTo>
                  <a:cubicBezTo>
                    <a:pt x="83" y="667"/>
                    <a:pt x="83" y="667"/>
                    <a:pt x="83" y="667"/>
                  </a:cubicBezTo>
                  <a:cubicBezTo>
                    <a:pt x="103" y="587"/>
                    <a:pt x="176" y="528"/>
                    <a:pt x="262" y="528"/>
                  </a:cubicBezTo>
                  <a:cubicBezTo>
                    <a:pt x="348" y="528"/>
                    <a:pt x="421" y="587"/>
                    <a:pt x="441" y="667"/>
                  </a:cubicBezTo>
                  <a:cubicBezTo>
                    <a:pt x="1227" y="667"/>
                    <a:pt x="1227" y="667"/>
                    <a:pt x="1227" y="667"/>
                  </a:cubicBezTo>
                  <a:cubicBezTo>
                    <a:pt x="1228" y="667"/>
                    <a:pt x="1230" y="667"/>
                    <a:pt x="1231" y="667"/>
                  </a:cubicBezTo>
                  <a:cubicBezTo>
                    <a:pt x="1231" y="468"/>
                    <a:pt x="1231" y="468"/>
                    <a:pt x="1231" y="468"/>
                  </a:cubicBezTo>
                  <a:cubicBezTo>
                    <a:pt x="1230" y="468"/>
                    <a:pt x="1228" y="468"/>
                    <a:pt x="1227" y="468"/>
                  </a:cubicBez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71" name="Freeform 22">
              <a:extLst>
                <a:ext uri="{FF2B5EF4-FFF2-40B4-BE49-F238E27FC236}">
                  <a16:creationId xmlns:a16="http://schemas.microsoft.com/office/drawing/2014/main" id="{B0559BF6-D87B-4C20-B897-47FA7C3247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3" y="1144"/>
              <a:ext cx="3501" cy="1878"/>
            </a:xfrm>
            <a:custGeom>
              <a:avLst/>
              <a:gdLst>
                <a:gd name="T0" fmla="*/ 1851 w 1869"/>
                <a:gd name="T1" fmla="*/ 535 h 1002"/>
                <a:gd name="T2" fmla="*/ 1534 w 1869"/>
                <a:gd name="T3" fmla="*/ 535 h 1002"/>
                <a:gd name="T4" fmla="*/ 1524 w 1869"/>
                <a:gd name="T5" fmla="*/ 526 h 1002"/>
                <a:gd name="T6" fmla="*/ 1524 w 1869"/>
                <a:gd name="T7" fmla="*/ 319 h 1002"/>
                <a:gd name="T8" fmla="*/ 1534 w 1869"/>
                <a:gd name="T9" fmla="*/ 310 h 1002"/>
                <a:gd name="T10" fmla="*/ 1737 w 1869"/>
                <a:gd name="T11" fmla="*/ 310 h 1002"/>
                <a:gd name="T12" fmla="*/ 1757 w 1869"/>
                <a:gd name="T13" fmla="*/ 328 h 1002"/>
                <a:gd name="T14" fmla="*/ 1868 w 1869"/>
                <a:gd name="T15" fmla="*/ 516 h 1002"/>
                <a:gd name="T16" fmla="*/ 1869 w 1869"/>
                <a:gd name="T17" fmla="*/ 521 h 1002"/>
                <a:gd name="T18" fmla="*/ 1851 w 1869"/>
                <a:gd name="T19" fmla="*/ 535 h 1002"/>
                <a:gd name="T20" fmla="*/ 368 w 1869"/>
                <a:gd name="T21" fmla="*/ 898 h 1002"/>
                <a:gd name="T22" fmla="*/ 316 w 1869"/>
                <a:gd name="T23" fmla="*/ 950 h 1002"/>
                <a:gd name="T24" fmla="*/ 368 w 1869"/>
                <a:gd name="T25" fmla="*/ 1002 h 1002"/>
                <a:gd name="T26" fmla="*/ 420 w 1869"/>
                <a:gd name="T27" fmla="*/ 950 h 1002"/>
                <a:gd name="T28" fmla="*/ 368 w 1869"/>
                <a:gd name="T29" fmla="*/ 898 h 1002"/>
                <a:gd name="T30" fmla="*/ 1670 w 1869"/>
                <a:gd name="T31" fmla="*/ 898 h 1002"/>
                <a:gd name="T32" fmla="*/ 1618 w 1869"/>
                <a:gd name="T33" fmla="*/ 950 h 1002"/>
                <a:gd name="T34" fmla="*/ 1670 w 1869"/>
                <a:gd name="T35" fmla="*/ 1002 h 1002"/>
                <a:gd name="T36" fmla="*/ 1722 w 1869"/>
                <a:gd name="T37" fmla="*/ 950 h 1002"/>
                <a:gd name="T38" fmla="*/ 1670 w 1869"/>
                <a:gd name="T39" fmla="*/ 898 h 1002"/>
                <a:gd name="T40" fmla="*/ 1340 w 1869"/>
                <a:gd name="T41" fmla="*/ 22 h 1002"/>
                <a:gd name="T42" fmla="*/ 1318 w 1869"/>
                <a:gd name="T43" fmla="*/ 0 h 1002"/>
                <a:gd name="T44" fmla="*/ 22 w 1869"/>
                <a:gd name="T45" fmla="*/ 0 h 1002"/>
                <a:gd name="T46" fmla="*/ 0 w 1869"/>
                <a:gd name="T47" fmla="*/ 22 h 1002"/>
                <a:gd name="T48" fmla="*/ 0 w 1869"/>
                <a:gd name="T49" fmla="*/ 639 h 1002"/>
                <a:gd name="T50" fmla="*/ 22 w 1869"/>
                <a:gd name="T51" fmla="*/ 661 h 1002"/>
                <a:gd name="T52" fmla="*/ 1340 w 1869"/>
                <a:gd name="T53" fmla="*/ 661 h 1002"/>
                <a:gd name="T54" fmla="*/ 1340 w 1869"/>
                <a:gd name="T55" fmla="*/ 22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69" h="1002">
                  <a:moveTo>
                    <a:pt x="1851" y="535"/>
                  </a:moveTo>
                  <a:cubicBezTo>
                    <a:pt x="1534" y="535"/>
                    <a:pt x="1534" y="535"/>
                    <a:pt x="1534" y="535"/>
                  </a:cubicBezTo>
                  <a:cubicBezTo>
                    <a:pt x="1529" y="535"/>
                    <a:pt x="1524" y="531"/>
                    <a:pt x="1524" y="526"/>
                  </a:cubicBezTo>
                  <a:cubicBezTo>
                    <a:pt x="1524" y="319"/>
                    <a:pt x="1524" y="319"/>
                    <a:pt x="1524" y="319"/>
                  </a:cubicBezTo>
                  <a:cubicBezTo>
                    <a:pt x="1524" y="314"/>
                    <a:pt x="1529" y="310"/>
                    <a:pt x="1534" y="310"/>
                  </a:cubicBezTo>
                  <a:cubicBezTo>
                    <a:pt x="1737" y="310"/>
                    <a:pt x="1737" y="310"/>
                    <a:pt x="1737" y="310"/>
                  </a:cubicBezTo>
                  <a:cubicBezTo>
                    <a:pt x="1747" y="310"/>
                    <a:pt x="1751" y="318"/>
                    <a:pt x="1757" y="328"/>
                  </a:cubicBezTo>
                  <a:cubicBezTo>
                    <a:pt x="1868" y="516"/>
                    <a:pt x="1868" y="516"/>
                    <a:pt x="1868" y="516"/>
                  </a:cubicBezTo>
                  <a:cubicBezTo>
                    <a:pt x="1869" y="517"/>
                    <a:pt x="1869" y="519"/>
                    <a:pt x="1869" y="521"/>
                  </a:cubicBezTo>
                  <a:cubicBezTo>
                    <a:pt x="1867" y="529"/>
                    <a:pt x="1860" y="535"/>
                    <a:pt x="1851" y="535"/>
                  </a:cubicBezTo>
                  <a:close/>
                  <a:moveTo>
                    <a:pt x="368" y="898"/>
                  </a:moveTo>
                  <a:cubicBezTo>
                    <a:pt x="339" y="898"/>
                    <a:pt x="316" y="921"/>
                    <a:pt x="316" y="950"/>
                  </a:cubicBezTo>
                  <a:cubicBezTo>
                    <a:pt x="316" y="979"/>
                    <a:pt x="339" y="1002"/>
                    <a:pt x="368" y="1002"/>
                  </a:cubicBezTo>
                  <a:cubicBezTo>
                    <a:pt x="397" y="1002"/>
                    <a:pt x="420" y="979"/>
                    <a:pt x="420" y="950"/>
                  </a:cubicBezTo>
                  <a:cubicBezTo>
                    <a:pt x="420" y="921"/>
                    <a:pt x="397" y="898"/>
                    <a:pt x="368" y="898"/>
                  </a:cubicBezTo>
                  <a:close/>
                  <a:moveTo>
                    <a:pt x="1670" y="898"/>
                  </a:moveTo>
                  <a:cubicBezTo>
                    <a:pt x="1641" y="898"/>
                    <a:pt x="1618" y="921"/>
                    <a:pt x="1618" y="950"/>
                  </a:cubicBezTo>
                  <a:cubicBezTo>
                    <a:pt x="1618" y="979"/>
                    <a:pt x="1641" y="1002"/>
                    <a:pt x="1670" y="1002"/>
                  </a:cubicBezTo>
                  <a:cubicBezTo>
                    <a:pt x="1699" y="1002"/>
                    <a:pt x="1722" y="979"/>
                    <a:pt x="1722" y="950"/>
                  </a:cubicBezTo>
                  <a:cubicBezTo>
                    <a:pt x="1722" y="921"/>
                    <a:pt x="1699" y="898"/>
                    <a:pt x="1670" y="898"/>
                  </a:cubicBezTo>
                  <a:close/>
                  <a:moveTo>
                    <a:pt x="1340" y="22"/>
                  </a:moveTo>
                  <a:cubicBezTo>
                    <a:pt x="1340" y="10"/>
                    <a:pt x="1330" y="0"/>
                    <a:pt x="1318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639"/>
                    <a:pt x="0" y="639"/>
                    <a:pt x="0" y="639"/>
                  </a:cubicBezTo>
                  <a:cubicBezTo>
                    <a:pt x="0" y="651"/>
                    <a:pt x="10" y="661"/>
                    <a:pt x="22" y="661"/>
                  </a:cubicBezTo>
                  <a:cubicBezTo>
                    <a:pt x="1340" y="661"/>
                    <a:pt x="1340" y="661"/>
                    <a:pt x="1340" y="661"/>
                  </a:cubicBezTo>
                  <a:lnTo>
                    <a:pt x="1340" y="22"/>
                  </a:ln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172" name="Group 171"/>
          <p:cNvGrpSpPr>
            <a:grpSpLocks noChangeAspect="1"/>
          </p:cNvGrpSpPr>
          <p:nvPr/>
        </p:nvGrpSpPr>
        <p:grpSpPr>
          <a:xfrm>
            <a:off x="5079148" y="2856052"/>
            <a:ext cx="457200" cy="457623"/>
            <a:chOff x="5273799" y="2606040"/>
            <a:chExt cx="1644396" cy="1645920"/>
          </a:xfrm>
        </p:grpSpPr>
        <p:sp>
          <p:nvSpPr>
            <p:cNvPr id="173" name="AutoShape 28">
              <a:extLst>
                <a:ext uri="{FF2B5EF4-FFF2-40B4-BE49-F238E27FC236}">
                  <a16:creationId xmlns:a16="http://schemas.microsoft.com/office/drawing/2014/main" id="{7563FC07-0F95-4975-8A35-266F618BA3E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74" name="Group 173"/>
            <p:cNvGrpSpPr/>
            <p:nvPr/>
          </p:nvGrpSpPr>
          <p:grpSpPr>
            <a:xfrm>
              <a:off x="5537070" y="2899029"/>
              <a:ext cx="1119378" cy="1182243"/>
              <a:chOff x="5537070" y="2899029"/>
              <a:chExt cx="1119378" cy="1182243"/>
            </a:xfrm>
          </p:grpSpPr>
          <p:sp>
            <p:nvSpPr>
              <p:cNvPr id="175" name="Freeform 30">
                <a:extLst>
                  <a:ext uri="{FF2B5EF4-FFF2-40B4-BE49-F238E27FC236}">
                    <a16:creationId xmlns:a16="http://schemas.microsoft.com/office/drawing/2014/main" id="{49BC73FE-6853-4419-AC44-1784975BCF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8594" y="2961894"/>
                <a:ext cx="1116330" cy="961263"/>
              </a:xfrm>
              <a:custGeom>
                <a:avLst/>
                <a:gdLst>
                  <a:gd name="T0" fmla="*/ 752 w 1564"/>
                  <a:gd name="T1" fmla="*/ 1346 h 1346"/>
                  <a:gd name="T2" fmla="*/ 479 w 1564"/>
                  <a:gd name="T3" fmla="*/ 1346 h 1346"/>
                  <a:gd name="T4" fmla="*/ 469 w 1564"/>
                  <a:gd name="T5" fmla="*/ 1336 h 1346"/>
                  <a:gd name="T6" fmla="*/ 469 w 1564"/>
                  <a:gd name="T7" fmla="*/ 856 h 1346"/>
                  <a:gd name="T8" fmla="*/ 479 w 1564"/>
                  <a:gd name="T9" fmla="*/ 846 h 1346"/>
                  <a:gd name="T10" fmla="*/ 752 w 1564"/>
                  <a:gd name="T11" fmla="*/ 846 h 1346"/>
                  <a:gd name="T12" fmla="*/ 762 w 1564"/>
                  <a:gd name="T13" fmla="*/ 856 h 1346"/>
                  <a:gd name="T14" fmla="*/ 762 w 1564"/>
                  <a:gd name="T15" fmla="*/ 1336 h 1346"/>
                  <a:gd name="T16" fmla="*/ 752 w 1564"/>
                  <a:gd name="T17" fmla="*/ 1346 h 1346"/>
                  <a:gd name="T18" fmla="*/ 1095 w 1564"/>
                  <a:gd name="T19" fmla="*/ 1336 h 1346"/>
                  <a:gd name="T20" fmla="*/ 1095 w 1564"/>
                  <a:gd name="T21" fmla="*/ 856 h 1346"/>
                  <a:gd name="T22" fmla="*/ 1085 w 1564"/>
                  <a:gd name="T23" fmla="*/ 846 h 1346"/>
                  <a:gd name="T24" fmla="*/ 812 w 1564"/>
                  <a:gd name="T25" fmla="*/ 846 h 1346"/>
                  <a:gd name="T26" fmla="*/ 802 w 1564"/>
                  <a:gd name="T27" fmla="*/ 856 h 1346"/>
                  <a:gd name="T28" fmla="*/ 802 w 1564"/>
                  <a:gd name="T29" fmla="*/ 1336 h 1346"/>
                  <a:gd name="T30" fmla="*/ 812 w 1564"/>
                  <a:gd name="T31" fmla="*/ 1346 h 1346"/>
                  <a:gd name="T32" fmla="*/ 1085 w 1564"/>
                  <a:gd name="T33" fmla="*/ 1346 h 1346"/>
                  <a:gd name="T34" fmla="*/ 1095 w 1564"/>
                  <a:gd name="T35" fmla="*/ 1336 h 1346"/>
                  <a:gd name="T36" fmla="*/ 1554 w 1564"/>
                  <a:gd name="T37" fmla="*/ 372 h 1346"/>
                  <a:gd name="T38" fmla="*/ 1384 w 1564"/>
                  <a:gd name="T39" fmla="*/ 18 h 1346"/>
                  <a:gd name="T40" fmla="*/ 1360 w 1564"/>
                  <a:gd name="T41" fmla="*/ 0 h 1346"/>
                  <a:gd name="T42" fmla="*/ 205 w 1564"/>
                  <a:gd name="T43" fmla="*/ 0 h 1346"/>
                  <a:gd name="T44" fmla="*/ 180 w 1564"/>
                  <a:gd name="T45" fmla="*/ 20 h 1346"/>
                  <a:gd name="T46" fmla="*/ 10 w 1564"/>
                  <a:gd name="T47" fmla="*/ 370 h 1346"/>
                  <a:gd name="T48" fmla="*/ 34 w 1564"/>
                  <a:gd name="T49" fmla="*/ 408 h 1346"/>
                  <a:gd name="T50" fmla="*/ 1530 w 1564"/>
                  <a:gd name="T51" fmla="*/ 408 h 1346"/>
                  <a:gd name="T52" fmla="*/ 1554 w 1564"/>
                  <a:gd name="T53" fmla="*/ 372 h 1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64" h="1346">
                    <a:moveTo>
                      <a:pt x="752" y="1346"/>
                    </a:moveTo>
                    <a:cubicBezTo>
                      <a:pt x="479" y="1346"/>
                      <a:pt x="479" y="1346"/>
                      <a:pt x="479" y="1346"/>
                    </a:cubicBezTo>
                    <a:cubicBezTo>
                      <a:pt x="474" y="1346"/>
                      <a:pt x="469" y="1342"/>
                      <a:pt x="469" y="1336"/>
                    </a:cubicBezTo>
                    <a:cubicBezTo>
                      <a:pt x="469" y="856"/>
                      <a:pt x="469" y="856"/>
                      <a:pt x="469" y="856"/>
                    </a:cubicBezTo>
                    <a:cubicBezTo>
                      <a:pt x="469" y="851"/>
                      <a:pt x="474" y="846"/>
                      <a:pt x="479" y="846"/>
                    </a:cubicBezTo>
                    <a:cubicBezTo>
                      <a:pt x="752" y="846"/>
                      <a:pt x="752" y="846"/>
                      <a:pt x="752" y="846"/>
                    </a:cubicBezTo>
                    <a:cubicBezTo>
                      <a:pt x="758" y="846"/>
                      <a:pt x="762" y="851"/>
                      <a:pt x="762" y="856"/>
                    </a:cubicBezTo>
                    <a:cubicBezTo>
                      <a:pt x="762" y="1336"/>
                      <a:pt x="762" y="1336"/>
                      <a:pt x="762" y="1336"/>
                    </a:cubicBezTo>
                    <a:cubicBezTo>
                      <a:pt x="762" y="1342"/>
                      <a:pt x="758" y="1346"/>
                      <a:pt x="752" y="1346"/>
                    </a:cubicBezTo>
                    <a:close/>
                    <a:moveTo>
                      <a:pt x="1095" y="1336"/>
                    </a:moveTo>
                    <a:cubicBezTo>
                      <a:pt x="1095" y="856"/>
                      <a:pt x="1095" y="856"/>
                      <a:pt x="1095" y="856"/>
                    </a:cubicBezTo>
                    <a:cubicBezTo>
                      <a:pt x="1095" y="851"/>
                      <a:pt x="1090" y="846"/>
                      <a:pt x="1085" y="846"/>
                    </a:cubicBezTo>
                    <a:cubicBezTo>
                      <a:pt x="812" y="846"/>
                      <a:pt x="812" y="846"/>
                      <a:pt x="812" y="846"/>
                    </a:cubicBezTo>
                    <a:cubicBezTo>
                      <a:pt x="806" y="846"/>
                      <a:pt x="802" y="851"/>
                      <a:pt x="802" y="856"/>
                    </a:cubicBezTo>
                    <a:cubicBezTo>
                      <a:pt x="802" y="1336"/>
                      <a:pt x="802" y="1336"/>
                      <a:pt x="802" y="1336"/>
                    </a:cubicBezTo>
                    <a:cubicBezTo>
                      <a:pt x="802" y="1342"/>
                      <a:pt x="806" y="1346"/>
                      <a:pt x="812" y="1346"/>
                    </a:cubicBezTo>
                    <a:cubicBezTo>
                      <a:pt x="1085" y="1346"/>
                      <a:pt x="1085" y="1346"/>
                      <a:pt x="1085" y="1346"/>
                    </a:cubicBezTo>
                    <a:cubicBezTo>
                      <a:pt x="1090" y="1346"/>
                      <a:pt x="1095" y="1342"/>
                      <a:pt x="1095" y="1336"/>
                    </a:cubicBezTo>
                    <a:close/>
                    <a:moveTo>
                      <a:pt x="1554" y="372"/>
                    </a:moveTo>
                    <a:cubicBezTo>
                      <a:pt x="1384" y="18"/>
                      <a:pt x="1384" y="18"/>
                      <a:pt x="1384" y="18"/>
                    </a:cubicBezTo>
                    <a:cubicBezTo>
                      <a:pt x="1379" y="9"/>
                      <a:pt x="1370" y="0"/>
                      <a:pt x="1360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194" y="0"/>
                      <a:pt x="185" y="11"/>
                      <a:pt x="180" y="20"/>
                    </a:cubicBezTo>
                    <a:cubicBezTo>
                      <a:pt x="10" y="370"/>
                      <a:pt x="10" y="370"/>
                      <a:pt x="10" y="370"/>
                    </a:cubicBezTo>
                    <a:cubicBezTo>
                      <a:pt x="0" y="388"/>
                      <a:pt x="14" y="408"/>
                      <a:pt x="34" y="408"/>
                    </a:cubicBezTo>
                    <a:cubicBezTo>
                      <a:pt x="1530" y="408"/>
                      <a:pt x="1530" y="408"/>
                      <a:pt x="1530" y="408"/>
                    </a:cubicBezTo>
                    <a:cubicBezTo>
                      <a:pt x="1551" y="408"/>
                      <a:pt x="1564" y="391"/>
                      <a:pt x="1554" y="372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76" name="Freeform 31">
                <a:extLst>
                  <a:ext uri="{FF2B5EF4-FFF2-40B4-BE49-F238E27FC236}">
                    <a16:creationId xmlns:a16="http://schemas.microsoft.com/office/drawing/2014/main" id="{76C2B07B-CC10-467E-80DB-D1179FF6D7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0" y="2899029"/>
                <a:ext cx="1119378" cy="1182243"/>
              </a:xfrm>
              <a:custGeom>
                <a:avLst/>
                <a:gdLst>
                  <a:gd name="T0" fmla="*/ 1524 w 1568"/>
                  <a:gd name="T1" fmla="*/ 1529 h 1655"/>
                  <a:gd name="T2" fmla="*/ 1459 w 1568"/>
                  <a:gd name="T3" fmla="*/ 1529 h 1655"/>
                  <a:gd name="T4" fmla="*/ 1459 w 1568"/>
                  <a:gd name="T5" fmla="*/ 1500 h 1655"/>
                  <a:gd name="T6" fmla="*/ 1438 w 1568"/>
                  <a:gd name="T7" fmla="*/ 1478 h 1655"/>
                  <a:gd name="T8" fmla="*/ 130 w 1568"/>
                  <a:gd name="T9" fmla="*/ 1478 h 1655"/>
                  <a:gd name="T10" fmla="*/ 109 w 1568"/>
                  <a:gd name="T11" fmla="*/ 1500 h 1655"/>
                  <a:gd name="T12" fmla="*/ 109 w 1568"/>
                  <a:gd name="T13" fmla="*/ 1529 h 1655"/>
                  <a:gd name="T14" fmla="*/ 44 w 1568"/>
                  <a:gd name="T15" fmla="*/ 1529 h 1655"/>
                  <a:gd name="T16" fmla="*/ 23 w 1568"/>
                  <a:gd name="T17" fmla="*/ 1551 h 1655"/>
                  <a:gd name="T18" fmla="*/ 23 w 1568"/>
                  <a:gd name="T19" fmla="*/ 1634 h 1655"/>
                  <a:gd name="T20" fmla="*/ 44 w 1568"/>
                  <a:gd name="T21" fmla="*/ 1655 h 1655"/>
                  <a:gd name="T22" fmla="*/ 1524 w 1568"/>
                  <a:gd name="T23" fmla="*/ 1655 h 1655"/>
                  <a:gd name="T24" fmla="*/ 1545 w 1568"/>
                  <a:gd name="T25" fmla="*/ 1634 h 1655"/>
                  <a:gd name="T26" fmla="*/ 1545 w 1568"/>
                  <a:gd name="T27" fmla="*/ 1551 h 1655"/>
                  <a:gd name="T28" fmla="*/ 1524 w 1568"/>
                  <a:gd name="T29" fmla="*/ 1529 h 1655"/>
                  <a:gd name="T30" fmla="*/ 1568 w 1568"/>
                  <a:gd name="T31" fmla="*/ 562 h 1655"/>
                  <a:gd name="T32" fmla="*/ 1568 w 1568"/>
                  <a:gd name="T33" fmla="*/ 583 h 1655"/>
                  <a:gd name="T34" fmla="*/ 1568 w 1568"/>
                  <a:gd name="T35" fmla="*/ 583 h 1655"/>
                  <a:gd name="T36" fmla="*/ 1394 w 1568"/>
                  <a:gd name="T37" fmla="*/ 778 h 1655"/>
                  <a:gd name="T38" fmla="*/ 1394 w 1568"/>
                  <a:gd name="T39" fmla="*/ 1434 h 1655"/>
                  <a:gd name="T40" fmla="*/ 1350 w 1568"/>
                  <a:gd name="T41" fmla="*/ 1434 h 1655"/>
                  <a:gd name="T42" fmla="*/ 1350 w 1568"/>
                  <a:gd name="T43" fmla="*/ 778 h 1655"/>
                  <a:gd name="T44" fmla="*/ 1176 w 1568"/>
                  <a:gd name="T45" fmla="*/ 588 h 1655"/>
                  <a:gd name="T46" fmla="*/ 980 w 1568"/>
                  <a:gd name="T47" fmla="*/ 779 h 1655"/>
                  <a:gd name="T48" fmla="*/ 784 w 1568"/>
                  <a:gd name="T49" fmla="*/ 588 h 1655"/>
                  <a:gd name="T50" fmla="*/ 588 w 1568"/>
                  <a:gd name="T51" fmla="*/ 779 h 1655"/>
                  <a:gd name="T52" fmla="*/ 392 w 1568"/>
                  <a:gd name="T53" fmla="*/ 588 h 1655"/>
                  <a:gd name="T54" fmla="*/ 218 w 1568"/>
                  <a:gd name="T55" fmla="*/ 778 h 1655"/>
                  <a:gd name="T56" fmla="*/ 218 w 1568"/>
                  <a:gd name="T57" fmla="*/ 1434 h 1655"/>
                  <a:gd name="T58" fmla="*/ 174 w 1568"/>
                  <a:gd name="T59" fmla="*/ 1434 h 1655"/>
                  <a:gd name="T60" fmla="*/ 174 w 1568"/>
                  <a:gd name="T61" fmla="*/ 778 h 1655"/>
                  <a:gd name="T62" fmla="*/ 0 w 1568"/>
                  <a:gd name="T63" fmla="*/ 583 h 1655"/>
                  <a:gd name="T64" fmla="*/ 0 w 1568"/>
                  <a:gd name="T65" fmla="*/ 583 h 1655"/>
                  <a:gd name="T66" fmla="*/ 0 w 1568"/>
                  <a:gd name="T67" fmla="*/ 562 h 1655"/>
                  <a:gd name="T68" fmla="*/ 22 w 1568"/>
                  <a:gd name="T69" fmla="*/ 540 h 1655"/>
                  <a:gd name="T70" fmla="*/ 1546 w 1568"/>
                  <a:gd name="T71" fmla="*/ 540 h 1655"/>
                  <a:gd name="T72" fmla="*/ 1568 w 1568"/>
                  <a:gd name="T73" fmla="*/ 562 h 1655"/>
                  <a:gd name="T74" fmla="*/ 1354 w 1568"/>
                  <a:gd name="T75" fmla="*/ 44 h 1655"/>
                  <a:gd name="T76" fmla="*/ 214 w 1568"/>
                  <a:gd name="T77" fmla="*/ 44 h 1655"/>
                  <a:gd name="T78" fmla="*/ 192 w 1568"/>
                  <a:gd name="T79" fmla="*/ 22 h 1655"/>
                  <a:gd name="T80" fmla="*/ 214 w 1568"/>
                  <a:gd name="T81" fmla="*/ 0 h 1655"/>
                  <a:gd name="T82" fmla="*/ 1354 w 1568"/>
                  <a:gd name="T83" fmla="*/ 0 h 1655"/>
                  <a:gd name="T84" fmla="*/ 1376 w 1568"/>
                  <a:gd name="T85" fmla="*/ 22 h 1655"/>
                  <a:gd name="T86" fmla="*/ 1354 w 1568"/>
                  <a:gd name="T87" fmla="*/ 44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68" h="1655">
                    <a:moveTo>
                      <a:pt x="1524" y="1529"/>
                    </a:moveTo>
                    <a:cubicBezTo>
                      <a:pt x="1459" y="1529"/>
                      <a:pt x="1459" y="1529"/>
                      <a:pt x="1459" y="1529"/>
                    </a:cubicBezTo>
                    <a:cubicBezTo>
                      <a:pt x="1459" y="1500"/>
                      <a:pt x="1459" y="1500"/>
                      <a:pt x="1459" y="1500"/>
                    </a:cubicBezTo>
                    <a:cubicBezTo>
                      <a:pt x="1459" y="1488"/>
                      <a:pt x="1450" y="1478"/>
                      <a:pt x="1438" y="1478"/>
                    </a:cubicBezTo>
                    <a:cubicBezTo>
                      <a:pt x="130" y="1478"/>
                      <a:pt x="130" y="1478"/>
                      <a:pt x="130" y="1478"/>
                    </a:cubicBezTo>
                    <a:cubicBezTo>
                      <a:pt x="118" y="1478"/>
                      <a:pt x="109" y="1488"/>
                      <a:pt x="109" y="1500"/>
                    </a:cubicBezTo>
                    <a:cubicBezTo>
                      <a:pt x="109" y="1529"/>
                      <a:pt x="109" y="1529"/>
                      <a:pt x="109" y="1529"/>
                    </a:cubicBezTo>
                    <a:cubicBezTo>
                      <a:pt x="44" y="1529"/>
                      <a:pt x="44" y="1529"/>
                      <a:pt x="44" y="1529"/>
                    </a:cubicBezTo>
                    <a:cubicBezTo>
                      <a:pt x="32" y="1529"/>
                      <a:pt x="23" y="1539"/>
                      <a:pt x="23" y="1551"/>
                    </a:cubicBezTo>
                    <a:cubicBezTo>
                      <a:pt x="23" y="1634"/>
                      <a:pt x="23" y="1634"/>
                      <a:pt x="23" y="1634"/>
                    </a:cubicBezTo>
                    <a:cubicBezTo>
                      <a:pt x="23" y="1646"/>
                      <a:pt x="32" y="1655"/>
                      <a:pt x="44" y="1655"/>
                    </a:cubicBezTo>
                    <a:cubicBezTo>
                      <a:pt x="1524" y="1655"/>
                      <a:pt x="1524" y="1655"/>
                      <a:pt x="1524" y="1655"/>
                    </a:cubicBezTo>
                    <a:cubicBezTo>
                      <a:pt x="1536" y="1655"/>
                      <a:pt x="1545" y="1646"/>
                      <a:pt x="1545" y="1634"/>
                    </a:cubicBezTo>
                    <a:cubicBezTo>
                      <a:pt x="1545" y="1551"/>
                      <a:pt x="1545" y="1551"/>
                      <a:pt x="1545" y="1551"/>
                    </a:cubicBezTo>
                    <a:cubicBezTo>
                      <a:pt x="1545" y="1539"/>
                      <a:pt x="1536" y="1529"/>
                      <a:pt x="1524" y="1529"/>
                    </a:cubicBezTo>
                    <a:close/>
                    <a:moveTo>
                      <a:pt x="1568" y="562"/>
                    </a:move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684"/>
                      <a:pt x="1491" y="767"/>
                      <a:pt x="1394" y="778"/>
                    </a:cubicBezTo>
                    <a:cubicBezTo>
                      <a:pt x="1394" y="1434"/>
                      <a:pt x="1394" y="1434"/>
                      <a:pt x="1394" y="1434"/>
                    </a:cubicBezTo>
                    <a:cubicBezTo>
                      <a:pt x="1350" y="1434"/>
                      <a:pt x="1350" y="1434"/>
                      <a:pt x="1350" y="1434"/>
                    </a:cubicBezTo>
                    <a:cubicBezTo>
                      <a:pt x="1350" y="778"/>
                      <a:pt x="1350" y="778"/>
                      <a:pt x="1350" y="778"/>
                    </a:cubicBezTo>
                    <a:cubicBezTo>
                      <a:pt x="1253" y="767"/>
                      <a:pt x="1178" y="687"/>
                      <a:pt x="1176" y="588"/>
                    </a:cubicBezTo>
                    <a:cubicBezTo>
                      <a:pt x="1173" y="694"/>
                      <a:pt x="1086" y="779"/>
                      <a:pt x="980" y="779"/>
                    </a:cubicBezTo>
                    <a:cubicBezTo>
                      <a:pt x="873" y="779"/>
                      <a:pt x="787" y="694"/>
                      <a:pt x="784" y="588"/>
                    </a:cubicBezTo>
                    <a:cubicBezTo>
                      <a:pt x="781" y="694"/>
                      <a:pt x="695" y="779"/>
                      <a:pt x="588" y="779"/>
                    </a:cubicBezTo>
                    <a:cubicBezTo>
                      <a:pt x="482" y="779"/>
                      <a:pt x="395" y="694"/>
                      <a:pt x="392" y="588"/>
                    </a:cubicBezTo>
                    <a:cubicBezTo>
                      <a:pt x="390" y="687"/>
                      <a:pt x="315" y="767"/>
                      <a:pt x="218" y="778"/>
                    </a:cubicBezTo>
                    <a:cubicBezTo>
                      <a:pt x="218" y="1434"/>
                      <a:pt x="218" y="1434"/>
                      <a:pt x="218" y="1434"/>
                    </a:cubicBezTo>
                    <a:cubicBezTo>
                      <a:pt x="174" y="1434"/>
                      <a:pt x="174" y="1434"/>
                      <a:pt x="174" y="1434"/>
                    </a:cubicBezTo>
                    <a:cubicBezTo>
                      <a:pt x="174" y="778"/>
                      <a:pt x="174" y="778"/>
                      <a:pt x="174" y="778"/>
                    </a:cubicBezTo>
                    <a:cubicBezTo>
                      <a:pt x="77" y="767"/>
                      <a:pt x="0" y="684"/>
                      <a:pt x="0" y="583"/>
                    </a:cubicBezTo>
                    <a:cubicBezTo>
                      <a:pt x="0" y="583"/>
                      <a:pt x="0" y="583"/>
                      <a:pt x="0" y="583"/>
                    </a:cubicBezTo>
                    <a:cubicBezTo>
                      <a:pt x="0" y="562"/>
                      <a:pt x="0" y="562"/>
                      <a:pt x="0" y="562"/>
                    </a:cubicBezTo>
                    <a:cubicBezTo>
                      <a:pt x="0" y="549"/>
                      <a:pt x="10" y="540"/>
                      <a:pt x="22" y="540"/>
                    </a:cubicBezTo>
                    <a:cubicBezTo>
                      <a:pt x="1546" y="540"/>
                      <a:pt x="1546" y="540"/>
                      <a:pt x="1546" y="540"/>
                    </a:cubicBezTo>
                    <a:cubicBezTo>
                      <a:pt x="1558" y="540"/>
                      <a:pt x="1568" y="549"/>
                      <a:pt x="1568" y="562"/>
                    </a:cubicBezTo>
                    <a:close/>
                    <a:moveTo>
                      <a:pt x="1354" y="44"/>
                    </a:moveTo>
                    <a:cubicBezTo>
                      <a:pt x="214" y="44"/>
                      <a:pt x="214" y="44"/>
                      <a:pt x="214" y="44"/>
                    </a:cubicBezTo>
                    <a:cubicBezTo>
                      <a:pt x="202" y="44"/>
                      <a:pt x="192" y="34"/>
                      <a:pt x="192" y="22"/>
                    </a:cubicBezTo>
                    <a:cubicBezTo>
                      <a:pt x="192" y="10"/>
                      <a:pt x="202" y="0"/>
                      <a:pt x="214" y="0"/>
                    </a:cubicBezTo>
                    <a:cubicBezTo>
                      <a:pt x="1354" y="0"/>
                      <a:pt x="1354" y="0"/>
                      <a:pt x="1354" y="0"/>
                    </a:cubicBezTo>
                    <a:cubicBezTo>
                      <a:pt x="1366" y="0"/>
                      <a:pt x="1376" y="10"/>
                      <a:pt x="1376" y="22"/>
                    </a:cubicBezTo>
                    <a:cubicBezTo>
                      <a:pt x="1376" y="34"/>
                      <a:pt x="1366" y="44"/>
                      <a:pt x="1354" y="44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55" name="bcgIcons_CloudReplacesOnPremises">
            <a:extLst>
              <a:ext uri="{FF2B5EF4-FFF2-40B4-BE49-F238E27FC236}">
                <a16:creationId xmlns:a16="http://schemas.microsoft.com/office/drawing/2014/main" id="{4AE0B203-BD8F-4FB1-8412-CBA9A6A6684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29374" y="2239209"/>
            <a:ext cx="457200" cy="457623"/>
            <a:chOff x="1682" y="0"/>
            <a:chExt cx="4316" cy="4320"/>
          </a:xfrm>
        </p:grpSpPr>
        <p:sp>
          <p:nvSpPr>
            <p:cNvPr id="156" name="AutoShape 34">
              <a:extLst>
                <a:ext uri="{FF2B5EF4-FFF2-40B4-BE49-F238E27FC236}">
                  <a16:creationId xmlns:a16="http://schemas.microsoft.com/office/drawing/2014/main" id="{7D1B06C0-5A00-40FC-924B-E09F70A4F24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57" name="Freeform 36">
              <a:extLst>
                <a:ext uri="{FF2B5EF4-FFF2-40B4-BE49-F238E27FC236}">
                  <a16:creationId xmlns:a16="http://schemas.microsoft.com/office/drawing/2014/main" id="{8AA7581C-360F-4A95-B081-8BEFDFB1BB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2" y="233"/>
              <a:ext cx="2720" cy="3873"/>
            </a:xfrm>
            <a:custGeom>
              <a:avLst/>
              <a:gdLst>
                <a:gd name="T0" fmla="*/ 558 w 1452"/>
                <a:gd name="T1" fmla="*/ 579 h 2066"/>
                <a:gd name="T2" fmla="*/ 724 w 1452"/>
                <a:gd name="T3" fmla="*/ 424 h 2066"/>
                <a:gd name="T4" fmla="*/ 725 w 1452"/>
                <a:gd name="T5" fmla="*/ 424 h 2066"/>
                <a:gd name="T6" fmla="*/ 893 w 1452"/>
                <a:gd name="T7" fmla="*/ 576 h 2066"/>
                <a:gd name="T8" fmla="*/ 845 w 1452"/>
                <a:gd name="T9" fmla="*/ 625 h 2066"/>
                <a:gd name="T10" fmla="*/ 759 w 1452"/>
                <a:gd name="T11" fmla="*/ 1041 h 2066"/>
                <a:gd name="T12" fmla="*/ 691 w 1452"/>
                <a:gd name="T13" fmla="*/ 540 h 2066"/>
                <a:gd name="T14" fmla="*/ 582 w 1452"/>
                <a:gd name="T15" fmla="*/ 636 h 2066"/>
                <a:gd name="T16" fmla="*/ 1128 w 1452"/>
                <a:gd name="T17" fmla="*/ 2044 h 2066"/>
                <a:gd name="T18" fmla="*/ 1106 w 1452"/>
                <a:gd name="T19" fmla="*/ 1086 h 2066"/>
                <a:gd name="T20" fmla="*/ 320 w 1452"/>
                <a:gd name="T21" fmla="*/ 1108 h 2066"/>
                <a:gd name="T22" fmla="*/ 342 w 1452"/>
                <a:gd name="T23" fmla="*/ 2066 h 2066"/>
                <a:gd name="T24" fmla="*/ 1128 w 1452"/>
                <a:gd name="T25" fmla="*/ 2044 h 2066"/>
                <a:gd name="T26" fmla="*/ 1084 w 1452"/>
                <a:gd name="T27" fmla="*/ 1130 h 2066"/>
                <a:gd name="T28" fmla="*/ 364 w 1452"/>
                <a:gd name="T29" fmla="*/ 2022 h 2066"/>
                <a:gd name="T30" fmla="*/ 1216 w 1452"/>
                <a:gd name="T31" fmla="*/ 338 h 2066"/>
                <a:gd name="T32" fmla="*/ 1010 w 1452"/>
                <a:gd name="T33" fmla="*/ 242 h 2066"/>
                <a:gd name="T34" fmla="*/ 845 w 1452"/>
                <a:gd name="T35" fmla="*/ 152 h 2066"/>
                <a:gd name="T36" fmla="*/ 761 w 1452"/>
                <a:gd name="T37" fmla="*/ 62 h 2066"/>
                <a:gd name="T38" fmla="*/ 356 w 1452"/>
                <a:gd name="T39" fmla="*/ 88 h 2066"/>
                <a:gd name="T40" fmla="*/ 159 w 1452"/>
                <a:gd name="T41" fmla="*/ 347 h 2066"/>
                <a:gd name="T42" fmla="*/ 140 w 1452"/>
                <a:gd name="T43" fmla="*/ 694 h 2066"/>
                <a:gd name="T44" fmla="*/ 498 w 1452"/>
                <a:gd name="T45" fmla="*/ 904 h 2066"/>
                <a:gd name="T46" fmla="*/ 647 w 1452"/>
                <a:gd name="T47" fmla="*/ 812 h 2066"/>
                <a:gd name="T48" fmla="*/ 290 w 1452"/>
                <a:gd name="T49" fmla="*/ 755 h 2066"/>
                <a:gd name="T50" fmla="*/ 192 w 1452"/>
                <a:gd name="T51" fmla="*/ 376 h 2066"/>
                <a:gd name="T52" fmla="*/ 574 w 1452"/>
                <a:gd name="T53" fmla="*/ 44 h 2066"/>
                <a:gd name="T54" fmla="*/ 817 w 1452"/>
                <a:gd name="T55" fmla="*/ 198 h 2066"/>
                <a:gd name="T56" fmla="*/ 985 w 1452"/>
                <a:gd name="T57" fmla="*/ 290 h 2066"/>
                <a:gd name="T58" fmla="*/ 1188 w 1452"/>
                <a:gd name="T59" fmla="*/ 375 h 2066"/>
                <a:gd name="T60" fmla="*/ 1132 w 1452"/>
                <a:gd name="T61" fmla="*/ 770 h 2066"/>
                <a:gd name="T62" fmla="*/ 996 w 1452"/>
                <a:gd name="T63" fmla="*/ 811 h 2066"/>
                <a:gd name="T64" fmla="*/ 803 w 1452"/>
                <a:gd name="T65" fmla="*/ 831 h 2066"/>
                <a:gd name="T66" fmla="*/ 917 w 1452"/>
                <a:gd name="T67" fmla="*/ 841 h 2066"/>
                <a:gd name="T68" fmla="*/ 1129 w 1452"/>
                <a:gd name="T69" fmla="*/ 814 h 2066"/>
                <a:gd name="T70" fmla="*/ 1379 w 1452"/>
                <a:gd name="T71" fmla="*/ 569 h 2066"/>
                <a:gd name="T72" fmla="*/ 278 w 1452"/>
                <a:gd name="T73" fmla="*/ 1890 h 2066"/>
                <a:gd name="T74" fmla="*/ 44 w 1452"/>
                <a:gd name="T75" fmla="*/ 1195 h 2066"/>
                <a:gd name="T76" fmla="*/ 278 w 1452"/>
                <a:gd name="T77" fmla="*/ 1151 h 2066"/>
                <a:gd name="T78" fmla="*/ 0 w 1452"/>
                <a:gd name="T79" fmla="*/ 1173 h 2066"/>
                <a:gd name="T80" fmla="*/ 22 w 1452"/>
                <a:gd name="T81" fmla="*/ 1934 h 2066"/>
                <a:gd name="T82" fmla="*/ 278 w 1452"/>
                <a:gd name="T83" fmla="*/ 1890 h 2066"/>
                <a:gd name="T84" fmla="*/ 1172 w 1452"/>
                <a:gd name="T85" fmla="*/ 1151 h 2066"/>
                <a:gd name="T86" fmla="*/ 1408 w 1452"/>
                <a:gd name="T87" fmla="*/ 1195 h 2066"/>
                <a:gd name="T88" fmla="*/ 1172 w 1452"/>
                <a:gd name="T89" fmla="*/ 1890 h 2066"/>
                <a:gd name="T90" fmla="*/ 1430 w 1452"/>
                <a:gd name="T91" fmla="*/ 1934 h 2066"/>
                <a:gd name="T92" fmla="*/ 1452 w 1452"/>
                <a:gd name="T93" fmla="*/ 1173 h 2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52" h="2066">
                  <a:moveTo>
                    <a:pt x="558" y="627"/>
                  </a:moveTo>
                  <a:cubicBezTo>
                    <a:pt x="544" y="614"/>
                    <a:pt x="544" y="592"/>
                    <a:pt x="558" y="579"/>
                  </a:cubicBezTo>
                  <a:cubicBezTo>
                    <a:pt x="700" y="434"/>
                    <a:pt x="700" y="434"/>
                    <a:pt x="700" y="434"/>
                  </a:cubicBezTo>
                  <a:cubicBezTo>
                    <a:pt x="706" y="428"/>
                    <a:pt x="715" y="424"/>
                    <a:pt x="724" y="424"/>
                  </a:cubicBezTo>
                  <a:cubicBezTo>
                    <a:pt x="724" y="424"/>
                    <a:pt x="724" y="424"/>
                    <a:pt x="725" y="424"/>
                  </a:cubicBezTo>
                  <a:cubicBezTo>
                    <a:pt x="725" y="424"/>
                    <a:pt x="725" y="424"/>
                    <a:pt x="725" y="424"/>
                  </a:cubicBezTo>
                  <a:cubicBezTo>
                    <a:pt x="737" y="424"/>
                    <a:pt x="747" y="430"/>
                    <a:pt x="753" y="439"/>
                  </a:cubicBezTo>
                  <a:cubicBezTo>
                    <a:pt x="893" y="576"/>
                    <a:pt x="893" y="576"/>
                    <a:pt x="893" y="576"/>
                  </a:cubicBezTo>
                  <a:cubicBezTo>
                    <a:pt x="906" y="590"/>
                    <a:pt x="906" y="611"/>
                    <a:pt x="893" y="624"/>
                  </a:cubicBezTo>
                  <a:cubicBezTo>
                    <a:pt x="880" y="638"/>
                    <a:pt x="858" y="638"/>
                    <a:pt x="845" y="625"/>
                  </a:cubicBezTo>
                  <a:cubicBezTo>
                    <a:pt x="759" y="540"/>
                    <a:pt x="759" y="540"/>
                    <a:pt x="759" y="540"/>
                  </a:cubicBezTo>
                  <a:cubicBezTo>
                    <a:pt x="759" y="1041"/>
                    <a:pt x="759" y="1041"/>
                    <a:pt x="759" y="1041"/>
                  </a:cubicBezTo>
                  <a:cubicBezTo>
                    <a:pt x="691" y="1041"/>
                    <a:pt x="691" y="1041"/>
                    <a:pt x="691" y="1041"/>
                  </a:cubicBezTo>
                  <a:cubicBezTo>
                    <a:pt x="691" y="540"/>
                    <a:pt x="691" y="540"/>
                    <a:pt x="691" y="540"/>
                  </a:cubicBezTo>
                  <a:cubicBezTo>
                    <a:pt x="606" y="626"/>
                    <a:pt x="606" y="626"/>
                    <a:pt x="606" y="626"/>
                  </a:cubicBezTo>
                  <a:cubicBezTo>
                    <a:pt x="599" y="633"/>
                    <a:pt x="591" y="636"/>
                    <a:pt x="582" y="636"/>
                  </a:cubicBezTo>
                  <a:cubicBezTo>
                    <a:pt x="573" y="636"/>
                    <a:pt x="564" y="633"/>
                    <a:pt x="558" y="627"/>
                  </a:cubicBezTo>
                  <a:close/>
                  <a:moveTo>
                    <a:pt x="1128" y="2044"/>
                  </a:moveTo>
                  <a:cubicBezTo>
                    <a:pt x="1128" y="1108"/>
                    <a:pt x="1128" y="1108"/>
                    <a:pt x="1128" y="1108"/>
                  </a:cubicBezTo>
                  <a:cubicBezTo>
                    <a:pt x="1128" y="1096"/>
                    <a:pt x="1118" y="1086"/>
                    <a:pt x="1106" y="1086"/>
                  </a:cubicBezTo>
                  <a:cubicBezTo>
                    <a:pt x="342" y="1086"/>
                    <a:pt x="342" y="1086"/>
                    <a:pt x="342" y="1086"/>
                  </a:cubicBezTo>
                  <a:cubicBezTo>
                    <a:pt x="330" y="1086"/>
                    <a:pt x="320" y="1096"/>
                    <a:pt x="320" y="1108"/>
                  </a:cubicBezTo>
                  <a:cubicBezTo>
                    <a:pt x="320" y="2044"/>
                    <a:pt x="320" y="2044"/>
                    <a:pt x="320" y="2044"/>
                  </a:cubicBezTo>
                  <a:cubicBezTo>
                    <a:pt x="320" y="2056"/>
                    <a:pt x="330" y="2066"/>
                    <a:pt x="342" y="2066"/>
                  </a:cubicBezTo>
                  <a:cubicBezTo>
                    <a:pt x="1106" y="2066"/>
                    <a:pt x="1106" y="2066"/>
                    <a:pt x="1106" y="2066"/>
                  </a:cubicBezTo>
                  <a:cubicBezTo>
                    <a:pt x="1118" y="2066"/>
                    <a:pt x="1128" y="2056"/>
                    <a:pt x="1128" y="2044"/>
                  </a:cubicBezTo>
                  <a:close/>
                  <a:moveTo>
                    <a:pt x="364" y="1130"/>
                  </a:moveTo>
                  <a:cubicBezTo>
                    <a:pt x="1084" y="1130"/>
                    <a:pt x="1084" y="1130"/>
                    <a:pt x="1084" y="1130"/>
                  </a:cubicBezTo>
                  <a:cubicBezTo>
                    <a:pt x="1084" y="2022"/>
                    <a:pt x="1084" y="2022"/>
                    <a:pt x="1084" y="2022"/>
                  </a:cubicBezTo>
                  <a:cubicBezTo>
                    <a:pt x="364" y="2022"/>
                    <a:pt x="364" y="2022"/>
                    <a:pt x="364" y="2022"/>
                  </a:cubicBezTo>
                  <a:lnTo>
                    <a:pt x="364" y="1130"/>
                  </a:lnTo>
                  <a:close/>
                  <a:moveTo>
                    <a:pt x="1216" y="338"/>
                  </a:moveTo>
                  <a:cubicBezTo>
                    <a:pt x="1172" y="277"/>
                    <a:pt x="1103" y="241"/>
                    <a:pt x="1026" y="241"/>
                  </a:cubicBezTo>
                  <a:cubicBezTo>
                    <a:pt x="1021" y="241"/>
                    <a:pt x="1015" y="242"/>
                    <a:pt x="1010" y="242"/>
                  </a:cubicBezTo>
                  <a:cubicBezTo>
                    <a:pt x="996" y="220"/>
                    <a:pt x="977" y="201"/>
                    <a:pt x="955" y="186"/>
                  </a:cubicBezTo>
                  <a:cubicBezTo>
                    <a:pt x="923" y="163"/>
                    <a:pt x="885" y="152"/>
                    <a:pt x="845" y="152"/>
                  </a:cubicBezTo>
                  <a:cubicBezTo>
                    <a:pt x="844" y="152"/>
                    <a:pt x="843" y="152"/>
                    <a:pt x="842" y="152"/>
                  </a:cubicBezTo>
                  <a:cubicBezTo>
                    <a:pt x="821" y="117"/>
                    <a:pt x="794" y="86"/>
                    <a:pt x="761" y="62"/>
                  </a:cubicBezTo>
                  <a:cubicBezTo>
                    <a:pt x="707" y="21"/>
                    <a:pt x="642" y="0"/>
                    <a:pt x="574" y="0"/>
                  </a:cubicBezTo>
                  <a:cubicBezTo>
                    <a:pt x="492" y="0"/>
                    <a:pt x="414" y="31"/>
                    <a:pt x="356" y="88"/>
                  </a:cubicBezTo>
                  <a:cubicBezTo>
                    <a:pt x="305" y="138"/>
                    <a:pt x="273" y="202"/>
                    <a:pt x="265" y="272"/>
                  </a:cubicBezTo>
                  <a:cubicBezTo>
                    <a:pt x="224" y="288"/>
                    <a:pt x="188" y="314"/>
                    <a:pt x="159" y="347"/>
                  </a:cubicBezTo>
                  <a:cubicBezTo>
                    <a:pt x="114" y="398"/>
                    <a:pt x="89" y="464"/>
                    <a:pt x="89" y="532"/>
                  </a:cubicBezTo>
                  <a:cubicBezTo>
                    <a:pt x="89" y="590"/>
                    <a:pt x="107" y="646"/>
                    <a:pt x="140" y="694"/>
                  </a:cubicBezTo>
                  <a:cubicBezTo>
                    <a:pt x="171" y="737"/>
                    <a:pt x="213" y="771"/>
                    <a:pt x="262" y="792"/>
                  </a:cubicBezTo>
                  <a:cubicBezTo>
                    <a:pt x="320" y="862"/>
                    <a:pt x="407" y="904"/>
                    <a:pt x="498" y="904"/>
                  </a:cubicBezTo>
                  <a:cubicBezTo>
                    <a:pt x="551" y="904"/>
                    <a:pt x="602" y="890"/>
                    <a:pt x="647" y="864"/>
                  </a:cubicBezTo>
                  <a:cubicBezTo>
                    <a:pt x="647" y="812"/>
                    <a:pt x="647" y="812"/>
                    <a:pt x="647" y="812"/>
                  </a:cubicBezTo>
                  <a:cubicBezTo>
                    <a:pt x="604" y="843"/>
                    <a:pt x="552" y="860"/>
                    <a:pt x="498" y="860"/>
                  </a:cubicBezTo>
                  <a:cubicBezTo>
                    <a:pt x="415" y="860"/>
                    <a:pt x="338" y="821"/>
                    <a:pt x="290" y="755"/>
                  </a:cubicBezTo>
                  <a:cubicBezTo>
                    <a:pt x="196" y="721"/>
                    <a:pt x="133" y="633"/>
                    <a:pt x="133" y="532"/>
                  </a:cubicBezTo>
                  <a:cubicBezTo>
                    <a:pt x="133" y="474"/>
                    <a:pt x="154" y="419"/>
                    <a:pt x="192" y="376"/>
                  </a:cubicBezTo>
                  <a:cubicBezTo>
                    <a:pt x="223" y="341"/>
                    <a:pt x="262" y="316"/>
                    <a:pt x="307" y="304"/>
                  </a:cubicBezTo>
                  <a:cubicBezTo>
                    <a:pt x="309" y="160"/>
                    <a:pt x="428" y="44"/>
                    <a:pt x="574" y="44"/>
                  </a:cubicBezTo>
                  <a:cubicBezTo>
                    <a:pt x="632" y="44"/>
                    <a:pt x="688" y="62"/>
                    <a:pt x="735" y="97"/>
                  </a:cubicBezTo>
                  <a:cubicBezTo>
                    <a:pt x="770" y="124"/>
                    <a:pt x="799" y="159"/>
                    <a:pt x="817" y="198"/>
                  </a:cubicBezTo>
                  <a:cubicBezTo>
                    <a:pt x="827" y="196"/>
                    <a:pt x="836" y="196"/>
                    <a:pt x="845" y="196"/>
                  </a:cubicBezTo>
                  <a:cubicBezTo>
                    <a:pt x="908" y="196"/>
                    <a:pt x="963" y="235"/>
                    <a:pt x="985" y="290"/>
                  </a:cubicBezTo>
                  <a:cubicBezTo>
                    <a:pt x="999" y="287"/>
                    <a:pt x="1013" y="285"/>
                    <a:pt x="1026" y="285"/>
                  </a:cubicBezTo>
                  <a:cubicBezTo>
                    <a:pt x="1093" y="285"/>
                    <a:pt x="1154" y="319"/>
                    <a:pt x="1188" y="375"/>
                  </a:cubicBezTo>
                  <a:cubicBezTo>
                    <a:pt x="1274" y="399"/>
                    <a:pt x="1335" y="478"/>
                    <a:pt x="1335" y="569"/>
                  </a:cubicBezTo>
                  <a:cubicBezTo>
                    <a:pt x="1335" y="680"/>
                    <a:pt x="1244" y="770"/>
                    <a:pt x="1132" y="770"/>
                  </a:cubicBezTo>
                  <a:cubicBezTo>
                    <a:pt x="1114" y="770"/>
                    <a:pt x="1114" y="770"/>
                    <a:pt x="1114" y="770"/>
                  </a:cubicBezTo>
                  <a:cubicBezTo>
                    <a:pt x="1080" y="796"/>
                    <a:pt x="1039" y="811"/>
                    <a:pt x="996" y="811"/>
                  </a:cubicBezTo>
                  <a:cubicBezTo>
                    <a:pt x="967" y="811"/>
                    <a:pt x="938" y="804"/>
                    <a:pt x="912" y="792"/>
                  </a:cubicBezTo>
                  <a:cubicBezTo>
                    <a:pt x="880" y="815"/>
                    <a:pt x="843" y="829"/>
                    <a:pt x="803" y="831"/>
                  </a:cubicBezTo>
                  <a:cubicBezTo>
                    <a:pt x="803" y="875"/>
                    <a:pt x="803" y="875"/>
                    <a:pt x="803" y="875"/>
                  </a:cubicBezTo>
                  <a:cubicBezTo>
                    <a:pt x="843" y="873"/>
                    <a:pt x="882" y="862"/>
                    <a:pt x="917" y="841"/>
                  </a:cubicBezTo>
                  <a:cubicBezTo>
                    <a:pt x="942" y="850"/>
                    <a:pt x="968" y="855"/>
                    <a:pt x="996" y="855"/>
                  </a:cubicBezTo>
                  <a:cubicBezTo>
                    <a:pt x="1043" y="855"/>
                    <a:pt x="1089" y="840"/>
                    <a:pt x="1129" y="814"/>
                  </a:cubicBezTo>
                  <a:cubicBezTo>
                    <a:pt x="1132" y="814"/>
                    <a:pt x="1132" y="814"/>
                    <a:pt x="1132" y="814"/>
                  </a:cubicBezTo>
                  <a:cubicBezTo>
                    <a:pt x="1269" y="814"/>
                    <a:pt x="1379" y="704"/>
                    <a:pt x="1379" y="569"/>
                  </a:cubicBezTo>
                  <a:cubicBezTo>
                    <a:pt x="1379" y="465"/>
                    <a:pt x="1313" y="372"/>
                    <a:pt x="1216" y="338"/>
                  </a:cubicBezTo>
                  <a:close/>
                  <a:moveTo>
                    <a:pt x="278" y="1890"/>
                  </a:moveTo>
                  <a:cubicBezTo>
                    <a:pt x="44" y="1890"/>
                    <a:pt x="44" y="1890"/>
                    <a:pt x="44" y="1890"/>
                  </a:cubicBezTo>
                  <a:cubicBezTo>
                    <a:pt x="44" y="1195"/>
                    <a:pt x="44" y="1195"/>
                    <a:pt x="44" y="1195"/>
                  </a:cubicBezTo>
                  <a:cubicBezTo>
                    <a:pt x="278" y="1195"/>
                    <a:pt x="278" y="1195"/>
                    <a:pt x="278" y="1195"/>
                  </a:cubicBezTo>
                  <a:cubicBezTo>
                    <a:pt x="278" y="1151"/>
                    <a:pt x="278" y="1151"/>
                    <a:pt x="278" y="1151"/>
                  </a:cubicBezTo>
                  <a:cubicBezTo>
                    <a:pt x="22" y="1151"/>
                    <a:pt x="22" y="1151"/>
                    <a:pt x="22" y="1151"/>
                  </a:cubicBezTo>
                  <a:cubicBezTo>
                    <a:pt x="10" y="1151"/>
                    <a:pt x="0" y="1161"/>
                    <a:pt x="0" y="1173"/>
                  </a:cubicBezTo>
                  <a:cubicBezTo>
                    <a:pt x="0" y="1912"/>
                    <a:pt x="0" y="1912"/>
                    <a:pt x="0" y="1912"/>
                  </a:cubicBezTo>
                  <a:cubicBezTo>
                    <a:pt x="0" y="1924"/>
                    <a:pt x="10" y="1934"/>
                    <a:pt x="22" y="1934"/>
                  </a:cubicBezTo>
                  <a:cubicBezTo>
                    <a:pt x="278" y="1934"/>
                    <a:pt x="278" y="1934"/>
                    <a:pt x="278" y="1934"/>
                  </a:cubicBezTo>
                  <a:lnTo>
                    <a:pt x="278" y="1890"/>
                  </a:lnTo>
                  <a:close/>
                  <a:moveTo>
                    <a:pt x="1430" y="1151"/>
                  </a:moveTo>
                  <a:cubicBezTo>
                    <a:pt x="1172" y="1151"/>
                    <a:pt x="1172" y="1151"/>
                    <a:pt x="1172" y="1151"/>
                  </a:cubicBezTo>
                  <a:cubicBezTo>
                    <a:pt x="1172" y="1195"/>
                    <a:pt x="1172" y="1195"/>
                    <a:pt x="1172" y="1195"/>
                  </a:cubicBezTo>
                  <a:cubicBezTo>
                    <a:pt x="1408" y="1195"/>
                    <a:pt x="1408" y="1195"/>
                    <a:pt x="1408" y="1195"/>
                  </a:cubicBezTo>
                  <a:cubicBezTo>
                    <a:pt x="1408" y="1890"/>
                    <a:pt x="1408" y="1890"/>
                    <a:pt x="1408" y="1890"/>
                  </a:cubicBezTo>
                  <a:cubicBezTo>
                    <a:pt x="1172" y="1890"/>
                    <a:pt x="1172" y="1890"/>
                    <a:pt x="1172" y="1890"/>
                  </a:cubicBezTo>
                  <a:cubicBezTo>
                    <a:pt x="1172" y="1934"/>
                    <a:pt x="1172" y="1934"/>
                    <a:pt x="1172" y="1934"/>
                  </a:cubicBezTo>
                  <a:cubicBezTo>
                    <a:pt x="1430" y="1934"/>
                    <a:pt x="1430" y="1934"/>
                    <a:pt x="1430" y="1934"/>
                  </a:cubicBezTo>
                  <a:cubicBezTo>
                    <a:pt x="1442" y="1934"/>
                    <a:pt x="1452" y="1924"/>
                    <a:pt x="1452" y="1912"/>
                  </a:cubicBezTo>
                  <a:cubicBezTo>
                    <a:pt x="1452" y="1173"/>
                    <a:pt x="1452" y="1173"/>
                    <a:pt x="1452" y="1173"/>
                  </a:cubicBezTo>
                  <a:cubicBezTo>
                    <a:pt x="1452" y="1161"/>
                    <a:pt x="1442" y="1151"/>
                    <a:pt x="1430" y="1151"/>
                  </a:cubicBez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58" name="Freeform 37">
              <a:extLst>
                <a:ext uri="{FF2B5EF4-FFF2-40B4-BE49-F238E27FC236}">
                  <a16:creationId xmlns:a16="http://schemas.microsoft.com/office/drawing/2014/main" id="{F8172E0B-A00A-4F3F-848A-F4653D67D1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6" y="383"/>
              <a:ext cx="2372" cy="3558"/>
            </a:xfrm>
            <a:custGeom>
              <a:avLst/>
              <a:gdLst>
                <a:gd name="T0" fmla="*/ 1008 w 1266"/>
                <a:gd name="T1" fmla="*/ 654 h 1898"/>
                <a:gd name="T2" fmla="*/ 710 w 1266"/>
                <a:gd name="T3" fmla="*/ 715 h 1898"/>
                <a:gd name="T4" fmla="*/ 776 w 1266"/>
                <a:gd name="T5" fmla="*/ 599 h 1898"/>
                <a:gd name="T6" fmla="*/ 830 w 1266"/>
                <a:gd name="T7" fmla="*/ 465 h 1898"/>
                <a:gd name="T8" fmla="*/ 631 w 1266"/>
                <a:gd name="T9" fmla="*/ 300 h 1898"/>
                <a:gd name="T10" fmla="*/ 411 w 1266"/>
                <a:gd name="T11" fmla="*/ 523 h 1898"/>
                <a:gd name="T12" fmla="*/ 544 w 1266"/>
                <a:gd name="T13" fmla="*/ 577 h 1898"/>
                <a:gd name="T14" fmla="*/ 405 w 1266"/>
                <a:gd name="T15" fmla="*/ 744 h 1898"/>
                <a:gd name="T16" fmla="*/ 250 w 1266"/>
                <a:gd name="T17" fmla="*/ 253 h 1898"/>
                <a:gd name="T18" fmla="*/ 703 w 1266"/>
                <a:gd name="T19" fmla="*/ 163 h 1898"/>
                <a:gd name="T20" fmla="*/ 933 w 1266"/>
                <a:gd name="T21" fmla="*/ 241 h 1898"/>
                <a:gd name="T22" fmla="*/ 947 w 1266"/>
                <a:gd name="T23" fmla="*/ 1103 h 1898"/>
                <a:gd name="T24" fmla="*/ 327 w 1266"/>
                <a:gd name="T25" fmla="*/ 1308 h 1898"/>
                <a:gd name="T26" fmla="*/ 327 w 1266"/>
                <a:gd name="T27" fmla="*/ 1093 h 1898"/>
                <a:gd name="T28" fmla="*/ 478 w 1266"/>
                <a:gd name="T29" fmla="*/ 1196 h 1898"/>
                <a:gd name="T30" fmla="*/ 433 w 1266"/>
                <a:gd name="T31" fmla="*/ 1242 h 1898"/>
                <a:gd name="T32" fmla="*/ 798 w 1266"/>
                <a:gd name="T33" fmla="*/ 1174 h 1898"/>
                <a:gd name="T34" fmla="*/ 535 w 1266"/>
                <a:gd name="T35" fmla="*/ 1218 h 1898"/>
                <a:gd name="T36" fmla="*/ 947 w 1266"/>
                <a:gd name="T37" fmla="*/ 1399 h 1898"/>
                <a:gd name="T38" fmla="*/ 327 w 1266"/>
                <a:gd name="T39" fmla="*/ 1603 h 1898"/>
                <a:gd name="T40" fmla="*/ 327 w 1266"/>
                <a:gd name="T41" fmla="*/ 1389 h 1898"/>
                <a:gd name="T42" fmla="*/ 478 w 1266"/>
                <a:gd name="T43" fmla="*/ 1492 h 1898"/>
                <a:gd name="T44" fmla="*/ 433 w 1266"/>
                <a:gd name="T45" fmla="*/ 1537 h 1898"/>
                <a:gd name="T46" fmla="*/ 798 w 1266"/>
                <a:gd name="T47" fmla="*/ 1470 h 1898"/>
                <a:gd name="T48" fmla="*/ 535 w 1266"/>
                <a:gd name="T49" fmla="*/ 1514 h 1898"/>
                <a:gd name="T50" fmla="*/ 947 w 1266"/>
                <a:gd name="T51" fmla="*/ 1693 h 1898"/>
                <a:gd name="T52" fmla="*/ 327 w 1266"/>
                <a:gd name="T53" fmla="*/ 1898 h 1898"/>
                <a:gd name="T54" fmla="*/ 327 w 1266"/>
                <a:gd name="T55" fmla="*/ 1683 h 1898"/>
                <a:gd name="T56" fmla="*/ 478 w 1266"/>
                <a:gd name="T57" fmla="*/ 1787 h 1898"/>
                <a:gd name="T58" fmla="*/ 433 w 1266"/>
                <a:gd name="T59" fmla="*/ 1832 h 1898"/>
                <a:gd name="T60" fmla="*/ 798 w 1266"/>
                <a:gd name="T61" fmla="*/ 1765 h 1898"/>
                <a:gd name="T62" fmla="*/ 535 w 1266"/>
                <a:gd name="T63" fmla="*/ 1809 h 1898"/>
                <a:gd name="T64" fmla="*/ 1256 w 1266"/>
                <a:gd name="T65" fmla="*/ 1168 h 1898"/>
                <a:gd name="T66" fmla="*/ 1256 w 1266"/>
                <a:gd name="T67" fmla="*/ 1307 h 1898"/>
                <a:gd name="T68" fmla="*/ 1256 w 1266"/>
                <a:gd name="T69" fmla="*/ 1168 h 1898"/>
                <a:gd name="T70" fmla="*/ 0 w 1266"/>
                <a:gd name="T71" fmla="*/ 1178 h 1898"/>
                <a:gd name="T72" fmla="*/ 185 w 1266"/>
                <a:gd name="T73" fmla="*/ 1307 h 1898"/>
                <a:gd name="T74" fmla="*/ 10 w 1266"/>
                <a:gd name="T75" fmla="*/ 1395 h 1898"/>
                <a:gd name="T76" fmla="*/ 10 w 1266"/>
                <a:gd name="T77" fmla="*/ 1533 h 1898"/>
                <a:gd name="T78" fmla="*/ 1256 w 1266"/>
                <a:gd name="T79" fmla="*/ 1395 h 1898"/>
                <a:gd name="T80" fmla="*/ 1256 w 1266"/>
                <a:gd name="T81" fmla="*/ 1533 h 1898"/>
                <a:gd name="T82" fmla="*/ 1256 w 1266"/>
                <a:gd name="T83" fmla="*/ 1395 h 1898"/>
                <a:gd name="T84" fmla="*/ 0 w 1266"/>
                <a:gd name="T85" fmla="*/ 1630 h 1898"/>
                <a:gd name="T86" fmla="*/ 185 w 1266"/>
                <a:gd name="T87" fmla="*/ 1759 h 1898"/>
                <a:gd name="T88" fmla="*/ 1079 w 1266"/>
                <a:gd name="T89" fmla="*/ 1620 h 1898"/>
                <a:gd name="T90" fmla="*/ 1266 w 1266"/>
                <a:gd name="T91" fmla="*/ 1749 h 1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66" h="1898">
                  <a:moveTo>
                    <a:pt x="1207" y="489"/>
                  </a:moveTo>
                  <a:cubicBezTo>
                    <a:pt x="1207" y="580"/>
                    <a:pt x="1132" y="654"/>
                    <a:pt x="1039" y="654"/>
                  </a:cubicBezTo>
                  <a:cubicBezTo>
                    <a:pt x="1033" y="654"/>
                    <a:pt x="1022" y="654"/>
                    <a:pt x="1008" y="654"/>
                  </a:cubicBezTo>
                  <a:cubicBezTo>
                    <a:pt x="980" y="679"/>
                    <a:pt x="943" y="695"/>
                    <a:pt x="903" y="695"/>
                  </a:cubicBezTo>
                  <a:cubicBezTo>
                    <a:pt x="870" y="695"/>
                    <a:pt x="841" y="685"/>
                    <a:pt x="816" y="669"/>
                  </a:cubicBezTo>
                  <a:cubicBezTo>
                    <a:pt x="788" y="695"/>
                    <a:pt x="751" y="712"/>
                    <a:pt x="710" y="715"/>
                  </a:cubicBezTo>
                  <a:cubicBezTo>
                    <a:pt x="710" y="566"/>
                    <a:pt x="710" y="566"/>
                    <a:pt x="710" y="566"/>
                  </a:cubicBezTo>
                  <a:cubicBezTo>
                    <a:pt x="721" y="576"/>
                    <a:pt x="721" y="576"/>
                    <a:pt x="721" y="576"/>
                  </a:cubicBezTo>
                  <a:cubicBezTo>
                    <a:pt x="736" y="591"/>
                    <a:pt x="755" y="599"/>
                    <a:pt x="776" y="599"/>
                  </a:cubicBezTo>
                  <a:cubicBezTo>
                    <a:pt x="776" y="599"/>
                    <a:pt x="776" y="599"/>
                    <a:pt x="776" y="599"/>
                  </a:cubicBezTo>
                  <a:cubicBezTo>
                    <a:pt x="797" y="599"/>
                    <a:pt x="816" y="590"/>
                    <a:pt x="831" y="575"/>
                  </a:cubicBezTo>
                  <a:cubicBezTo>
                    <a:pt x="861" y="545"/>
                    <a:pt x="861" y="495"/>
                    <a:pt x="830" y="465"/>
                  </a:cubicBezTo>
                  <a:cubicBezTo>
                    <a:pt x="694" y="330"/>
                    <a:pt x="694" y="330"/>
                    <a:pt x="694" y="330"/>
                  </a:cubicBezTo>
                  <a:cubicBezTo>
                    <a:pt x="679" y="311"/>
                    <a:pt x="656" y="300"/>
                    <a:pt x="632" y="300"/>
                  </a:cubicBezTo>
                  <a:cubicBezTo>
                    <a:pt x="632" y="300"/>
                    <a:pt x="631" y="300"/>
                    <a:pt x="631" y="300"/>
                  </a:cubicBezTo>
                  <a:cubicBezTo>
                    <a:pt x="610" y="300"/>
                    <a:pt x="590" y="308"/>
                    <a:pt x="576" y="323"/>
                  </a:cubicBezTo>
                  <a:cubicBezTo>
                    <a:pt x="433" y="468"/>
                    <a:pt x="433" y="468"/>
                    <a:pt x="433" y="468"/>
                  </a:cubicBezTo>
                  <a:cubicBezTo>
                    <a:pt x="419" y="483"/>
                    <a:pt x="411" y="502"/>
                    <a:pt x="411" y="523"/>
                  </a:cubicBezTo>
                  <a:cubicBezTo>
                    <a:pt x="411" y="544"/>
                    <a:pt x="419" y="563"/>
                    <a:pt x="434" y="578"/>
                  </a:cubicBezTo>
                  <a:cubicBezTo>
                    <a:pt x="449" y="593"/>
                    <a:pt x="468" y="600"/>
                    <a:pt x="489" y="600"/>
                  </a:cubicBezTo>
                  <a:cubicBezTo>
                    <a:pt x="510" y="600"/>
                    <a:pt x="529" y="592"/>
                    <a:pt x="544" y="577"/>
                  </a:cubicBezTo>
                  <a:cubicBezTo>
                    <a:pt x="554" y="567"/>
                    <a:pt x="554" y="567"/>
                    <a:pt x="554" y="567"/>
                  </a:cubicBezTo>
                  <a:cubicBezTo>
                    <a:pt x="554" y="687"/>
                    <a:pt x="554" y="687"/>
                    <a:pt x="554" y="687"/>
                  </a:cubicBezTo>
                  <a:cubicBezTo>
                    <a:pt x="515" y="722"/>
                    <a:pt x="462" y="744"/>
                    <a:pt x="405" y="744"/>
                  </a:cubicBezTo>
                  <a:cubicBezTo>
                    <a:pt x="327" y="744"/>
                    <a:pt x="259" y="705"/>
                    <a:pt x="219" y="645"/>
                  </a:cubicBezTo>
                  <a:cubicBezTo>
                    <a:pt x="136" y="619"/>
                    <a:pt x="76" y="543"/>
                    <a:pt x="76" y="452"/>
                  </a:cubicBezTo>
                  <a:cubicBezTo>
                    <a:pt x="76" y="350"/>
                    <a:pt x="152" y="266"/>
                    <a:pt x="250" y="253"/>
                  </a:cubicBezTo>
                  <a:cubicBezTo>
                    <a:pt x="250" y="244"/>
                    <a:pt x="249" y="237"/>
                    <a:pt x="249" y="229"/>
                  </a:cubicBezTo>
                  <a:cubicBezTo>
                    <a:pt x="249" y="103"/>
                    <a:pt x="353" y="0"/>
                    <a:pt x="481" y="0"/>
                  </a:cubicBezTo>
                  <a:cubicBezTo>
                    <a:pt x="586" y="0"/>
                    <a:pt x="674" y="69"/>
                    <a:pt x="703" y="163"/>
                  </a:cubicBezTo>
                  <a:cubicBezTo>
                    <a:pt x="718" y="156"/>
                    <a:pt x="734" y="151"/>
                    <a:pt x="752" y="151"/>
                  </a:cubicBezTo>
                  <a:cubicBezTo>
                    <a:pt x="813" y="151"/>
                    <a:pt x="862" y="198"/>
                    <a:pt x="867" y="256"/>
                  </a:cubicBezTo>
                  <a:cubicBezTo>
                    <a:pt x="887" y="247"/>
                    <a:pt x="910" y="241"/>
                    <a:pt x="933" y="241"/>
                  </a:cubicBezTo>
                  <a:cubicBezTo>
                    <a:pt x="994" y="241"/>
                    <a:pt x="1046" y="276"/>
                    <a:pt x="1071" y="326"/>
                  </a:cubicBezTo>
                  <a:cubicBezTo>
                    <a:pt x="1148" y="341"/>
                    <a:pt x="1207" y="408"/>
                    <a:pt x="1207" y="489"/>
                  </a:cubicBezTo>
                  <a:close/>
                  <a:moveTo>
                    <a:pt x="947" y="1103"/>
                  </a:moveTo>
                  <a:cubicBezTo>
                    <a:pt x="947" y="1298"/>
                    <a:pt x="947" y="1298"/>
                    <a:pt x="947" y="1298"/>
                  </a:cubicBezTo>
                  <a:cubicBezTo>
                    <a:pt x="947" y="1303"/>
                    <a:pt x="943" y="1308"/>
                    <a:pt x="937" y="1308"/>
                  </a:cubicBezTo>
                  <a:cubicBezTo>
                    <a:pt x="327" y="1308"/>
                    <a:pt x="327" y="1308"/>
                    <a:pt x="327" y="1308"/>
                  </a:cubicBezTo>
                  <a:cubicBezTo>
                    <a:pt x="321" y="1308"/>
                    <a:pt x="317" y="1303"/>
                    <a:pt x="317" y="1298"/>
                  </a:cubicBezTo>
                  <a:cubicBezTo>
                    <a:pt x="317" y="1103"/>
                    <a:pt x="317" y="1103"/>
                    <a:pt x="317" y="1103"/>
                  </a:cubicBezTo>
                  <a:cubicBezTo>
                    <a:pt x="317" y="1098"/>
                    <a:pt x="321" y="1093"/>
                    <a:pt x="327" y="1093"/>
                  </a:cubicBezTo>
                  <a:cubicBezTo>
                    <a:pt x="937" y="1093"/>
                    <a:pt x="937" y="1093"/>
                    <a:pt x="937" y="1093"/>
                  </a:cubicBezTo>
                  <a:cubicBezTo>
                    <a:pt x="943" y="1093"/>
                    <a:pt x="947" y="1098"/>
                    <a:pt x="947" y="1103"/>
                  </a:cubicBezTo>
                  <a:close/>
                  <a:moveTo>
                    <a:pt x="478" y="1196"/>
                  </a:moveTo>
                  <a:cubicBezTo>
                    <a:pt x="478" y="1171"/>
                    <a:pt x="458" y="1151"/>
                    <a:pt x="433" y="1151"/>
                  </a:cubicBezTo>
                  <a:cubicBezTo>
                    <a:pt x="408" y="1151"/>
                    <a:pt x="387" y="1171"/>
                    <a:pt x="387" y="1196"/>
                  </a:cubicBezTo>
                  <a:cubicBezTo>
                    <a:pt x="387" y="1221"/>
                    <a:pt x="408" y="1242"/>
                    <a:pt x="433" y="1242"/>
                  </a:cubicBezTo>
                  <a:cubicBezTo>
                    <a:pt x="458" y="1242"/>
                    <a:pt x="478" y="1221"/>
                    <a:pt x="478" y="1196"/>
                  </a:cubicBezTo>
                  <a:close/>
                  <a:moveTo>
                    <a:pt x="820" y="1196"/>
                  </a:moveTo>
                  <a:cubicBezTo>
                    <a:pt x="820" y="1184"/>
                    <a:pt x="810" y="1174"/>
                    <a:pt x="798" y="1174"/>
                  </a:cubicBezTo>
                  <a:cubicBezTo>
                    <a:pt x="535" y="1174"/>
                    <a:pt x="535" y="1174"/>
                    <a:pt x="535" y="1174"/>
                  </a:cubicBezTo>
                  <a:cubicBezTo>
                    <a:pt x="522" y="1174"/>
                    <a:pt x="513" y="1184"/>
                    <a:pt x="513" y="1196"/>
                  </a:cubicBezTo>
                  <a:cubicBezTo>
                    <a:pt x="513" y="1209"/>
                    <a:pt x="522" y="1218"/>
                    <a:pt x="535" y="1218"/>
                  </a:cubicBezTo>
                  <a:cubicBezTo>
                    <a:pt x="798" y="1218"/>
                    <a:pt x="798" y="1218"/>
                    <a:pt x="798" y="1218"/>
                  </a:cubicBezTo>
                  <a:cubicBezTo>
                    <a:pt x="810" y="1218"/>
                    <a:pt x="820" y="1209"/>
                    <a:pt x="820" y="1196"/>
                  </a:cubicBezTo>
                  <a:close/>
                  <a:moveTo>
                    <a:pt x="947" y="1399"/>
                  </a:moveTo>
                  <a:cubicBezTo>
                    <a:pt x="947" y="1593"/>
                    <a:pt x="947" y="1593"/>
                    <a:pt x="947" y="1593"/>
                  </a:cubicBezTo>
                  <a:cubicBezTo>
                    <a:pt x="947" y="1599"/>
                    <a:pt x="943" y="1603"/>
                    <a:pt x="937" y="1603"/>
                  </a:cubicBezTo>
                  <a:cubicBezTo>
                    <a:pt x="327" y="1603"/>
                    <a:pt x="327" y="1603"/>
                    <a:pt x="327" y="1603"/>
                  </a:cubicBezTo>
                  <a:cubicBezTo>
                    <a:pt x="321" y="1603"/>
                    <a:pt x="317" y="1599"/>
                    <a:pt x="317" y="1593"/>
                  </a:cubicBezTo>
                  <a:cubicBezTo>
                    <a:pt x="317" y="1399"/>
                    <a:pt x="317" y="1399"/>
                    <a:pt x="317" y="1399"/>
                  </a:cubicBezTo>
                  <a:cubicBezTo>
                    <a:pt x="317" y="1393"/>
                    <a:pt x="321" y="1389"/>
                    <a:pt x="327" y="1389"/>
                  </a:cubicBezTo>
                  <a:cubicBezTo>
                    <a:pt x="937" y="1389"/>
                    <a:pt x="937" y="1389"/>
                    <a:pt x="937" y="1389"/>
                  </a:cubicBezTo>
                  <a:cubicBezTo>
                    <a:pt x="943" y="1389"/>
                    <a:pt x="947" y="1393"/>
                    <a:pt x="947" y="1399"/>
                  </a:cubicBezTo>
                  <a:close/>
                  <a:moveTo>
                    <a:pt x="478" y="1492"/>
                  </a:moveTo>
                  <a:cubicBezTo>
                    <a:pt x="478" y="1467"/>
                    <a:pt x="458" y="1446"/>
                    <a:pt x="433" y="1446"/>
                  </a:cubicBezTo>
                  <a:cubicBezTo>
                    <a:pt x="408" y="1446"/>
                    <a:pt x="387" y="1467"/>
                    <a:pt x="387" y="1492"/>
                  </a:cubicBezTo>
                  <a:cubicBezTo>
                    <a:pt x="387" y="1517"/>
                    <a:pt x="408" y="1537"/>
                    <a:pt x="433" y="1537"/>
                  </a:cubicBezTo>
                  <a:cubicBezTo>
                    <a:pt x="458" y="1537"/>
                    <a:pt x="478" y="1517"/>
                    <a:pt x="478" y="1492"/>
                  </a:cubicBezTo>
                  <a:close/>
                  <a:moveTo>
                    <a:pt x="820" y="1492"/>
                  </a:moveTo>
                  <a:cubicBezTo>
                    <a:pt x="820" y="1480"/>
                    <a:pt x="810" y="1470"/>
                    <a:pt x="798" y="1470"/>
                  </a:cubicBezTo>
                  <a:cubicBezTo>
                    <a:pt x="535" y="1470"/>
                    <a:pt x="535" y="1470"/>
                    <a:pt x="535" y="1470"/>
                  </a:cubicBezTo>
                  <a:cubicBezTo>
                    <a:pt x="522" y="1470"/>
                    <a:pt x="513" y="1480"/>
                    <a:pt x="513" y="1492"/>
                  </a:cubicBezTo>
                  <a:cubicBezTo>
                    <a:pt x="513" y="1504"/>
                    <a:pt x="522" y="1514"/>
                    <a:pt x="535" y="1514"/>
                  </a:cubicBezTo>
                  <a:cubicBezTo>
                    <a:pt x="798" y="1514"/>
                    <a:pt x="798" y="1514"/>
                    <a:pt x="798" y="1514"/>
                  </a:cubicBezTo>
                  <a:cubicBezTo>
                    <a:pt x="810" y="1514"/>
                    <a:pt x="820" y="1504"/>
                    <a:pt x="820" y="1492"/>
                  </a:cubicBezTo>
                  <a:close/>
                  <a:moveTo>
                    <a:pt x="947" y="1693"/>
                  </a:moveTo>
                  <a:cubicBezTo>
                    <a:pt x="947" y="1888"/>
                    <a:pt x="947" y="1888"/>
                    <a:pt x="947" y="1888"/>
                  </a:cubicBezTo>
                  <a:cubicBezTo>
                    <a:pt x="947" y="1893"/>
                    <a:pt x="943" y="1898"/>
                    <a:pt x="937" y="1898"/>
                  </a:cubicBezTo>
                  <a:cubicBezTo>
                    <a:pt x="327" y="1898"/>
                    <a:pt x="327" y="1898"/>
                    <a:pt x="327" y="1898"/>
                  </a:cubicBezTo>
                  <a:cubicBezTo>
                    <a:pt x="321" y="1898"/>
                    <a:pt x="317" y="1893"/>
                    <a:pt x="317" y="1888"/>
                  </a:cubicBezTo>
                  <a:cubicBezTo>
                    <a:pt x="317" y="1693"/>
                    <a:pt x="317" y="1693"/>
                    <a:pt x="317" y="1693"/>
                  </a:cubicBezTo>
                  <a:cubicBezTo>
                    <a:pt x="317" y="1688"/>
                    <a:pt x="321" y="1683"/>
                    <a:pt x="327" y="1683"/>
                  </a:cubicBezTo>
                  <a:cubicBezTo>
                    <a:pt x="937" y="1683"/>
                    <a:pt x="937" y="1683"/>
                    <a:pt x="937" y="1683"/>
                  </a:cubicBezTo>
                  <a:cubicBezTo>
                    <a:pt x="943" y="1683"/>
                    <a:pt x="947" y="1688"/>
                    <a:pt x="947" y="1693"/>
                  </a:cubicBezTo>
                  <a:close/>
                  <a:moveTo>
                    <a:pt x="478" y="1787"/>
                  </a:moveTo>
                  <a:cubicBezTo>
                    <a:pt x="478" y="1762"/>
                    <a:pt x="458" y="1741"/>
                    <a:pt x="433" y="1741"/>
                  </a:cubicBezTo>
                  <a:cubicBezTo>
                    <a:pt x="408" y="1741"/>
                    <a:pt x="387" y="1762"/>
                    <a:pt x="387" y="1787"/>
                  </a:cubicBezTo>
                  <a:cubicBezTo>
                    <a:pt x="387" y="1812"/>
                    <a:pt x="408" y="1832"/>
                    <a:pt x="433" y="1832"/>
                  </a:cubicBezTo>
                  <a:cubicBezTo>
                    <a:pt x="458" y="1832"/>
                    <a:pt x="478" y="1812"/>
                    <a:pt x="478" y="1787"/>
                  </a:cubicBezTo>
                  <a:close/>
                  <a:moveTo>
                    <a:pt x="820" y="1787"/>
                  </a:moveTo>
                  <a:cubicBezTo>
                    <a:pt x="820" y="1774"/>
                    <a:pt x="810" y="1765"/>
                    <a:pt x="798" y="1765"/>
                  </a:cubicBezTo>
                  <a:cubicBezTo>
                    <a:pt x="535" y="1765"/>
                    <a:pt x="535" y="1765"/>
                    <a:pt x="535" y="1765"/>
                  </a:cubicBezTo>
                  <a:cubicBezTo>
                    <a:pt x="522" y="1765"/>
                    <a:pt x="513" y="1774"/>
                    <a:pt x="513" y="1787"/>
                  </a:cubicBezTo>
                  <a:cubicBezTo>
                    <a:pt x="513" y="1799"/>
                    <a:pt x="522" y="1809"/>
                    <a:pt x="535" y="1809"/>
                  </a:cubicBezTo>
                  <a:cubicBezTo>
                    <a:pt x="798" y="1809"/>
                    <a:pt x="798" y="1809"/>
                    <a:pt x="798" y="1809"/>
                  </a:cubicBezTo>
                  <a:cubicBezTo>
                    <a:pt x="810" y="1809"/>
                    <a:pt x="820" y="1799"/>
                    <a:pt x="820" y="1787"/>
                  </a:cubicBezTo>
                  <a:close/>
                  <a:moveTo>
                    <a:pt x="1256" y="1168"/>
                  </a:moveTo>
                  <a:cubicBezTo>
                    <a:pt x="1079" y="1168"/>
                    <a:pt x="1079" y="1168"/>
                    <a:pt x="1079" y="1168"/>
                  </a:cubicBezTo>
                  <a:cubicBezTo>
                    <a:pt x="1079" y="1307"/>
                    <a:pt x="1079" y="1307"/>
                    <a:pt x="1079" y="1307"/>
                  </a:cubicBezTo>
                  <a:cubicBezTo>
                    <a:pt x="1256" y="1307"/>
                    <a:pt x="1256" y="1307"/>
                    <a:pt x="1256" y="1307"/>
                  </a:cubicBezTo>
                  <a:cubicBezTo>
                    <a:pt x="1262" y="1307"/>
                    <a:pt x="1266" y="1302"/>
                    <a:pt x="1266" y="1297"/>
                  </a:cubicBezTo>
                  <a:cubicBezTo>
                    <a:pt x="1266" y="1178"/>
                    <a:pt x="1266" y="1178"/>
                    <a:pt x="1266" y="1178"/>
                  </a:cubicBezTo>
                  <a:cubicBezTo>
                    <a:pt x="1266" y="1172"/>
                    <a:pt x="1262" y="1168"/>
                    <a:pt x="1256" y="1168"/>
                  </a:cubicBezTo>
                  <a:close/>
                  <a:moveTo>
                    <a:pt x="185" y="1168"/>
                  </a:moveTo>
                  <a:cubicBezTo>
                    <a:pt x="10" y="1168"/>
                    <a:pt x="10" y="1168"/>
                    <a:pt x="10" y="1168"/>
                  </a:cubicBezTo>
                  <a:cubicBezTo>
                    <a:pt x="4" y="1168"/>
                    <a:pt x="0" y="1172"/>
                    <a:pt x="0" y="1178"/>
                  </a:cubicBezTo>
                  <a:cubicBezTo>
                    <a:pt x="0" y="1297"/>
                    <a:pt x="0" y="1297"/>
                    <a:pt x="0" y="1297"/>
                  </a:cubicBezTo>
                  <a:cubicBezTo>
                    <a:pt x="0" y="1302"/>
                    <a:pt x="4" y="1307"/>
                    <a:pt x="10" y="1307"/>
                  </a:cubicBezTo>
                  <a:cubicBezTo>
                    <a:pt x="185" y="1307"/>
                    <a:pt x="185" y="1307"/>
                    <a:pt x="185" y="1307"/>
                  </a:cubicBezTo>
                  <a:lnTo>
                    <a:pt x="185" y="1168"/>
                  </a:lnTo>
                  <a:close/>
                  <a:moveTo>
                    <a:pt x="185" y="1395"/>
                  </a:moveTo>
                  <a:cubicBezTo>
                    <a:pt x="10" y="1395"/>
                    <a:pt x="10" y="1395"/>
                    <a:pt x="10" y="1395"/>
                  </a:cubicBezTo>
                  <a:cubicBezTo>
                    <a:pt x="4" y="1395"/>
                    <a:pt x="0" y="1399"/>
                    <a:pt x="0" y="1405"/>
                  </a:cubicBezTo>
                  <a:cubicBezTo>
                    <a:pt x="0" y="1523"/>
                    <a:pt x="0" y="1523"/>
                    <a:pt x="0" y="1523"/>
                  </a:cubicBezTo>
                  <a:cubicBezTo>
                    <a:pt x="0" y="1529"/>
                    <a:pt x="4" y="1533"/>
                    <a:pt x="10" y="1533"/>
                  </a:cubicBezTo>
                  <a:cubicBezTo>
                    <a:pt x="185" y="1533"/>
                    <a:pt x="185" y="1533"/>
                    <a:pt x="185" y="1533"/>
                  </a:cubicBezTo>
                  <a:lnTo>
                    <a:pt x="185" y="1395"/>
                  </a:lnTo>
                  <a:close/>
                  <a:moveTo>
                    <a:pt x="1256" y="1395"/>
                  </a:moveTo>
                  <a:cubicBezTo>
                    <a:pt x="1079" y="1395"/>
                    <a:pt x="1079" y="1395"/>
                    <a:pt x="1079" y="1395"/>
                  </a:cubicBezTo>
                  <a:cubicBezTo>
                    <a:pt x="1079" y="1533"/>
                    <a:pt x="1079" y="1533"/>
                    <a:pt x="1079" y="1533"/>
                  </a:cubicBezTo>
                  <a:cubicBezTo>
                    <a:pt x="1256" y="1533"/>
                    <a:pt x="1256" y="1533"/>
                    <a:pt x="1256" y="1533"/>
                  </a:cubicBezTo>
                  <a:cubicBezTo>
                    <a:pt x="1262" y="1533"/>
                    <a:pt x="1266" y="1529"/>
                    <a:pt x="1266" y="1523"/>
                  </a:cubicBezTo>
                  <a:cubicBezTo>
                    <a:pt x="1266" y="1405"/>
                    <a:pt x="1266" y="1405"/>
                    <a:pt x="1266" y="1405"/>
                  </a:cubicBezTo>
                  <a:cubicBezTo>
                    <a:pt x="1266" y="1399"/>
                    <a:pt x="1262" y="1395"/>
                    <a:pt x="1256" y="1395"/>
                  </a:cubicBezTo>
                  <a:close/>
                  <a:moveTo>
                    <a:pt x="185" y="1620"/>
                  </a:moveTo>
                  <a:cubicBezTo>
                    <a:pt x="10" y="1620"/>
                    <a:pt x="10" y="1620"/>
                    <a:pt x="10" y="1620"/>
                  </a:cubicBezTo>
                  <a:cubicBezTo>
                    <a:pt x="4" y="1620"/>
                    <a:pt x="0" y="1624"/>
                    <a:pt x="0" y="1630"/>
                  </a:cubicBezTo>
                  <a:cubicBezTo>
                    <a:pt x="0" y="1749"/>
                    <a:pt x="0" y="1749"/>
                    <a:pt x="0" y="1749"/>
                  </a:cubicBezTo>
                  <a:cubicBezTo>
                    <a:pt x="0" y="1754"/>
                    <a:pt x="4" y="1759"/>
                    <a:pt x="10" y="1759"/>
                  </a:cubicBezTo>
                  <a:cubicBezTo>
                    <a:pt x="185" y="1759"/>
                    <a:pt x="185" y="1759"/>
                    <a:pt x="185" y="1759"/>
                  </a:cubicBezTo>
                  <a:lnTo>
                    <a:pt x="185" y="1620"/>
                  </a:lnTo>
                  <a:close/>
                  <a:moveTo>
                    <a:pt x="1256" y="1620"/>
                  </a:moveTo>
                  <a:cubicBezTo>
                    <a:pt x="1079" y="1620"/>
                    <a:pt x="1079" y="1620"/>
                    <a:pt x="1079" y="1620"/>
                  </a:cubicBezTo>
                  <a:cubicBezTo>
                    <a:pt x="1079" y="1759"/>
                    <a:pt x="1079" y="1759"/>
                    <a:pt x="1079" y="1759"/>
                  </a:cubicBezTo>
                  <a:cubicBezTo>
                    <a:pt x="1256" y="1759"/>
                    <a:pt x="1256" y="1759"/>
                    <a:pt x="1256" y="1759"/>
                  </a:cubicBezTo>
                  <a:cubicBezTo>
                    <a:pt x="1262" y="1759"/>
                    <a:pt x="1266" y="1754"/>
                    <a:pt x="1266" y="1749"/>
                  </a:cubicBezTo>
                  <a:cubicBezTo>
                    <a:pt x="1266" y="1630"/>
                    <a:pt x="1266" y="1630"/>
                    <a:pt x="1266" y="1630"/>
                  </a:cubicBezTo>
                  <a:cubicBezTo>
                    <a:pt x="1266" y="1624"/>
                    <a:pt x="1262" y="1620"/>
                    <a:pt x="1256" y="1620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181" name="Group 180"/>
          <p:cNvGrpSpPr>
            <a:grpSpLocks noChangeAspect="1"/>
          </p:cNvGrpSpPr>
          <p:nvPr/>
        </p:nvGrpSpPr>
        <p:grpSpPr>
          <a:xfrm>
            <a:off x="3615495" y="1383559"/>
            <a:ext cx="457200" cy="457200"/>
            <a:chOff x="5273675" y="2606675"/>
            <a:chExt cx="1646238" cy="1644650"/>
          </a:xfrm>
        </p:grpSpPr>
        <p:sp>
          <p:nvSpPr>
            <p:cNvPr id="18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5443538" y="2960688"/>
              <a:ext cx="1304925" cy="936625"/>
              <a:chOff x="5443538" y="2960688"/>
              <a:chExt cx="1304925" cy="936625"/>
            </a:xfrm>
          </p:grpSpPr>
          <p:sp>
            <p:nvSpPr>
              <p:cNvPr id="184" name="Freeform 5"/>
              <p:cNvSpPr>
                <a:spLocks/>
              </p:cNvSpPr>
              <p:nvPr/>
            </p:nvSpPr>
            <p:spPr bwMode="auto">
              <a:xfrm>
                <a:off x="5443538" y="2960688"/>
                <a:ext cx="1304925" cy="936625"/>
              </a:xfrm>
              <a:custGeom>
                <a:avLst/>
                <a:gdLst>
                  <a:gd name="T0" fmla="*/ 1806 w 1828"/>
                  <a:gd name="T1" fmla="*/ 0 h 1313"/>
                  <a:gd name="T2" fmla="*/ 1123 w 1828"/>
                  <a:gd name="T3" fmla="*/ 0 h 1313"/>
                  <a:gd name="T4" fmla="*/ 1123 w 1828"/>
                  <a:gd name="T5" fmla="*/ 1 h 1313"/>
                  <a:gd name="T6" fmla="*/ 1123 w 1828"/>
                  <a:gd name="T7" fmla="*/ 44 h 1313"/>
                  <a:gd name="T8" fmla="*/ 1784 w 1828"/>
                  <a:gd name="T9" fmla="*/ 44 h 1313"/>
                  <a:gd name="T10" fmla="*/ 1784 w 1828"/>
                  <a:gd name="T11" fmla="*/ 1269 h 1313"/>
                  <a:gd name="T12" fmla="*/ 44 w 1828"/>
                  <a:gd name="T13" fmla="*/ 1269 h 1313"/>
                  <a:gd name="T14" fmla="*/ 44 w 1828"/>
                  <a:gd name="T15" fmla="*/ 44 h 1313"/>
                  <a:gd name="T16" fmla="*/ 705 w 1828"/>
                  <a:gd name="T17" fmla="*/ 44 h 1313"/>
                  <a:gd name="T18" fmla="*/ 705 w 1828"/>
                  <a:gd name="T19" fmla="*/ 1 h 1313"/>
                  <a:gd name="T20" fmla="*/ 705 w 1828"/>
                  <a:gd name="T21" fmla="*/ 0 h 1313"/>
                  <a:gd name="T22" fmla="*/ 22 w 1828"/>
                  <a:gd name="T23" fmla="*/ 0 h 1313"/>
                  <a:gd name="T24" fmla="*/ 0 w 1828"/>
                  <a:gd name="T25" fmla="*/ 22 h 1313"/>
                  <a:gd name="T26" fmla="*/ 0 w 1828"/>
                  <a:gd name="T27" fmla="*/ 1291 h 1313"/>
                  <a:gd name="T28" fmla="*/ 22 w 1828"/>
                  <a:gd name="T29" fmla="*/ 1313 h 1313"/>
                  <a:gd name="T30" fmla="*/ 1806 w 1828"/>
                  <a:gd name="T31" fmla="*/ 1313 h 1313"/>
                  <a:gd name="T32" fmla="*/ 1828 w 1828"/>
                  <a:gd name="T33" fmla="*/ 1291 h 1313"/>
                  <a:gd name="T34" fmla="*/ 1828 w 1828"/>
                  <a:gd name="T35" fmla="*/ 22 h 1313"/>
                  <a:gd name="T36" fmla="*/ 1806 w 1828"/>
                  <a:gd name="T37" fmla="*/ 0 h 1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28" h="1313">
                    <a:moveTo>
                      <a:pt x="1806" y="0"/>
                    </a:moveTo>
                    <a:cubicBezTo>
                      <a:pt x="1123" y="0"/>
                      <a:pt x="1123" y="0"/>
                      <a:pt x="1123" y="0"/>
                    </a:cubicBezTo>
                    <a:cubicBezTo>
                      <a:pt x="1123" y="1"/>
                      <a:pt x="1123" y="1"/>
                      <a:pt x="1123" y="1"/>
                    </a:cubicBezTo>
                    <a:cubicBezTo>
                      <a:pt x="1123" y="44"/>
                      <a:pt x="1123" y="44"/>
                      <a:pt x="1123" y="44"/>
                    </a:cubicBezTo>
                    <a:cubicBezTo>
                      <a:pt x="1784" y="44"/>
                      <a:pt x="1784" y="44"/>
                      <a:pt x="1784" y="44"/>
                    </a:cubicBezTo>
                    <a:cubicBezTo>
                      <a:pt x="1784" y="1269"/>
                      <a:pt x="1784" y="1269"/>
                      <a:pt x="1784" y="1269"/>
                    </a:cubicBezTo>
                    <a:cubicBezTo>
                      <a:pt x="44" y="1269"/>
                      <a:pt x="44" y="1269"/>
                      <a:pt x="44" y="1269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705" y="44"/>
                      <a:pt x="705" y="44"/>
                      <a:pt x="705" y="44"/>
                    </a:cubicBezTo>
                    <a:cubicBezTo>
                      <a:pt x="705" y="1"/>
                      <a:pt x="705" y="1"/>
                      <a:pt x="705" y="1"/>
                    </a:cubicBezTo>
                    <a:cubicBezTo>
                      <a:pt x="705" y="0"/>
                      <a:pt x="705" y="0"/>
                      <a:pt x="70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291"/>
                      <a:pt x="0" y="1291"/>
                      <a:pt x="0" y="1291"/>
                    </a:cubicBezTo>
                    <a:cubicBezTo>
                      <a:pt x="0" y="1303"/>
                      <a:pt x="10" y="1313"/>
                      <a:pt x="22" y="1313"/>
                    </a:cubicBezTo>
                    <a:cubicBezTo>
                      <a:pt x="1806" y="1313"/>
                      <a:pt x="1806" y="1313"/>
                      <a:pt x="1806" y="1313"/>
                    </a:cubicBezTo>
                    <a:cubicBezTo>
                      <a:pt x="1818" y="1313"/>
                      <a:pt x="1828" y="1303"/>
                      <a:pt x="1828" y="1291"/>
                    </a:cubicBezTo>
                    <a:cubicBezTo>
                      <a:pt x="1828" y="22"/>
                      <a:pt x="1828" y="22"/>
                      <a:pt x="1828" y="22"/>
                    </a:cubicBezTo>
                    <a:cubicBezTo>
                      <a:pt x="1828" y="10"/>
                      <a:pt x="1818" y="0"/>
                      <a:pt x="1806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85" name="Freeform 184"/>
              <p:cNvSpPr>
                <a:spLocks/>
              </p:cNvSpPr>
              <p:nvPr/>
            </p:nvSpPr>
            <p:spPr bwMode="auto">
              <a:xfrm>
                <a:off x="5538788" y="2962274"/>
                <a:ext cx="1108419" cy="846138"/>
              </a:xfrm>
              <a:custGeom>
                <a:avLst/>
                <a:gdLst>
                  <a:gd name="connsiteX0" fmla="*/ 15729 w 1108419"/>
                  <a:gd name="connsiteY0" fmla="*/ 814388 h 846138"/>
                  <a:gd name="connsiteX1" fmla="*/ 172310 w 1108419"/>
                  <a:gd name="connsiteY1" fmla="*/ 814388 h 846138"/>
                  <a:gd name="connsiteX2" fmla="*/ 187325 w 1108419"/>
                  <a:gd name="connsiteY2" fmla="*/ 830632 h 846138"/>
                  <a:gd name="connsiteX3" fmla="*/ 172310 w 1108419"/>
                  <a:gd name="connsiteY3" fmla="*/ 846138 h 846138"/>
                  <a:gd name="connsiteX4" fmla="*/ 15729 w 1108419"/>
                  <a:gd name="connsiteY4" fmla="*/ 846138 h 846138"/>
                  <a:gd name="connsiteX5" fmla="*/ 0 w 1108419"/>
                  <a:gd name="connsiteY5" fmla="*/ 830632 h 846138"/>
                  <a:gd name="connsiteX6" fmla="*/ 15729 w 1108419"/>
                  <a:gd name="connsiteY6" fmla="*/ 814388 h 846138"/>
                  <a:gd name="connsiteX7" fmla="*/ 15772 w 1108419"/>
                  <a:gd name="connsiteY7" fmla="*/ 755650 h 846138"/>
                  <a:gd name="connsiteX8" fmla="*/ 296095 w 1108419"/>
                  <a:gd name="connsiteY8" fmla="*/ 755650 h 846138"/>
                  <a:gd name="connsiteX9" fmla="*/ 311150 w 1108419"/>
                  <a:gd name="connsiteY9" fmla="*/ 771082 h 846138"/>
                  <a:gd name="connsiteX10" fmla="*/ 296095 w 1108419"/>
                  <a:gd name="connsiteY10" fmla="*/ 785813 h 846138"/>
                  <a:gd name="connsiteX11" fmla="*/ 15772 w 1108419"/>
                  <a:gd name="connsiteY11" fmla="*/ 785813 h 846138"/>
                  <a:gd name="connsiteX12" fmla="*/ 0 w 1108419"/>
                  <a:gd name="connsiteY12" fmla="*/ 771082 h 846138"/>
                  <a:gd name="connsiteX13" fmla="*/ 15772 w 1108419"/>
                  <a:gd name="connsiteY13" fmla="*/ 755650 h 846138"/>
                  <a:gd name="connsiteX14" fmla="*/ 15795 w 1108419"/>
                  <a:gd name="connsiteY14" fmla="*/ 695325 h 846138"/>
                  <a:gd name="connsiteX15" fmla="*/ 269955 w 1108419"/>
                  <a:gd name="connsiteY15" fmla="*/ 695325 h 846138"/>
                  <a:gd name="connsiteX16" fmla="*/ 285750 w 1108419"/>
                  <a:gd name="connsiteY16" fmla="*/ 710757 h 846138"/>
                  <a:gd name="connsiteX17" fmla="*/ 269955 w 1108419"/>
                  <a:gd name="connsiteY17" fmla="*/ 725488 h 846138"/>
                  <a:gd name="connsiteX18" fmla="*/ 15795 w 1108419"/>
                  <a:gd name="connsiteY18" fmla="*/ 725488 h 846138"/>
                  <a:gd name="connsiteX19" fmla="*/ 0 w 1108419"/>
                  <a:gd name="connsiteY19" fmla="*/ 710757 h 846138"/>
                  <a:gd name="connsiteX20" fmla="*/ 15795 w 1108419"/>
                  <a:gd name="connsiteY20" fmla="*/ 695325 h 846138"/>
                  <a:gd name="connsiteX21" fmla="*/ 1022350 w 1108419"/>
                  <a:gd name="connsiteY21" fmla="*/ 657225 h 846138"/>
                  <a:gd name="connsiteX22" fmla="*/ 1025189 w 1108419"/>
                  <a:gd name="connsiteY22" fmla="*/ 657941 h 846138"/>
                  <a:gd name="connsiteX23" fmla="*/ 1028029 w 1108419"/>
                  <a:gd name="connsiteY23" fmla="*/ 658656 h 846138"/>
                  <a:gd name="connsiteX24" fmla="*/ 1028738 w 1108419"/>
                  <a:gd name="connsiteY24" fmla="*/ 658656 h 846138"/>
                  <a:gd name="connsiteX25" fmla="*/ 1030868 w 1108419"/>
                  <a:gd name="connsiteY25" fmla="*/ 659372 h 846138"/>
                  <a:gd name="connsiteX26" fmla="*/ 1033707 w 1108419"/>
                  <a:gd name="connsiteY26" fmla="*/ 661519 h 846138"/>
                  <a:gd name="connsiteX27" fmla="*/ 1104693 w 1108419"/>
                  <a:gd name="connsiteY27" fmla="*/ 733077 h 846138"/>
                  <a:gd name="connsiteX28" fmla="*/ 1104693 w 1108419"/>
                  <a:gd name="connsiteY28" fmla="*/ 754544 h 846138"/>
                  <a:gd name="connsiteX29" fmla="*/ 1093336 w 1108419"/>
                  <a:gd name="connsiteY29" fmla="*/ 758837 h 846138"/>
                  <a:gd name="connsiteX30" fmla="*/ 1082688 w 1108419"/>
                  <a:gd name="connsiteY30" fmla="*/ 754544 h 846138"/>
                  <a:gd name="connsiteX31" fmla="*/ 1037967 w 1108419"/>
                  <a:gd name="connsiteY31" fmla="*/ 709462 h 846138"/>
                  <a:gd name="connsiteX32" fmla="*/ 1037967 w 1108419"/>
                  <a:gd name="connsiteY32" fmla="*/ 831111 h 846138"/>
                  <a:gd name="connsiteX33" fmla="*/ 1022350 w 1108419"/>
                  <a:gd name="connsiteY33" fmla="*/ 846138 h 846138"/>
                  <a:gd name="connsiteX34" fmla="*/ 1007443 w 1108419"/>
                  <a:gd name="connsiteY34" fmla="*/ 831111 h 846138"/>
                  <a:gd name="connsiteX35" fmla="*/ 1007443 w 1108419"/>
                  <a:gd name="connsiteY35" fmla="*/ 709462 h 846138"/>
                  <a:gd name="connsiteX36" fmla="*/ 962722 w 1108419"/>
                  <a:gd name="connsiteY36" fmla="*/ 754544 h 846138"/>
                  <a:gd name="connsiteX37" fmla="*/ 941426 w 1108419"/>
                  <a:gd name="connsiteY37" fmla="*/ 754544 h 846138"/>
                  <a:gd name="connsiteX38" fmla="*/ 941426 w 1108419"/>
                  <a:gd name="connsiteY38" fmla="*/ 733077 h 846138"/>
                  <a:gd name="connsiteX39" fmla="*/ 1012412 w 1108419"/>
                  <a:gd name="connsiteY39" fmla="*/ 661519 h 846138"/>
                  <a:gd name="connsiteX40" fmla="*/ 1014541 w 1108419"/>
                  <a:gd name="connsiteY40" fmla="*/ 659372 h 846138"/>
                  <a:gd name="connsiteX41" fmla="*/ 1016671 w 1108419"/>
                  <a:gd name="connsiteY41" fmla="*/ 658656 h 846138"/>
                  <a:gd name="connsiteX42" fmla="*/ 1019510 w 1108419"/>
                  <a:gd name="connsiteY42" fmla="*/ 657941 h 846138"/>
                  <a:gd name="connsiteX43" fmla="*/ 1022350 w 1108419"/>
                  <a:gd name="connsiteY43" fmla="*/ 657225 h 846138"/>
                  <a:gd name="connsiteX44" fmla="*/ 198437 w 1108419"/>
                  <a:gd name="connsiteY44" fmla="*/ 471488 h 846138"/>
                  <a:gd name="connsiteX45" fmla="*/ 263525 w 1108419"/>
                  <a:gd name="connsiteY45" fmla="*/ 471488 h 846138"/>
                  <a:gd name="connsiteX46" fmla="*/ 263525 w 1108419"/>
                  <a:gd name="connsiteY46" fmla="*/ 505234 h 846138"/>
                  <a:gd name="connsiteX47" fmla="*/ 247790 w 1108419"/>
                  <a:gd name="connsiteY47" fmla="*/ 520701 h 846138"/>
                  <a:gd name="connsiteX48" fmla="*/ 198437 w 1108419"/>
                  <a:gd name="connsiteY48" fmla="*/ 520701 h 846138"/>
                  <a:gd name="connsiteX49" fmla="*/ 198437 w 1108419"/>
                  <a:gd name="connsiteY49" fmla="*/ 471488 h 846138"/>
                  <a:gd name="connsiteX50" fmla="*/ 1587 w 1108419"/>
                  <a:gd name="connsiteY50" fmla="*/ 471488 h 846138"/>
                  <a:gd name="connsiteX51" fmla="*/ 166687 w 1108419"/>
                  <a:gd name="connsiteY51" fmla="*/ 471488 h 846138"/>
                  <a:gd name="connsiteX52" fmla="*/ 166687 w 1108419"/>
                  <a:gd name="connsiteY52" fmla="*/ 520701 h 846138"/>
                  <a:gd name="connsiteX53" fmla="*/ 17311 w 1108419"/>
                  <a:gd name="connsiteY53" fmla="*/ 520701 h 846138"/>
                  <a:gd name="connsiteX54" fmla="*/ 1587 w 1108419"/>
                  <a:gd name="connsiteY54" fmla="*/ 505234 h 846138"/>
                  <a:gd name="connsiteX55" fmla="*/ 1587 w 1108419"/>
                  <a:gd name="connsiteY55" fmla="*/ 471488 h 846138"/>
                  <a:gd name="connsiteX56" fmla="*/ 198437 w 1108419"/>
                  <a:gd name="connsiteY56" fmla="*/ 390525 h 846138"/>
                  <a:gd name="connsiteX57" fmla="*/ 247790 w 1108419"/>
                  <a:gd name="connsiteY57" fmla="*/ 390525 h 846138"/>
                  <a:gd name="connsiteX58" fmla="*/ 263525 w 1108419"/>
                  <a:gd name="connsiteY58" fmla="*/ 406216 h 846138"/>
                  <a:gd name="connsiteX59" fmla="*/ 263525 w 1108419"/>
                  <a:gd name="connsiteY59" fmla="*/ 439738 h 846138"/>
                  <a:gd name="connsiteX60" fmla="*/ 198437 w 1108419"/>
                  <a:gd name="connsiteY60" fmla="*/ 439738 h 846138"/>
                  <a:gd name="connsiteX61" fmla="*/ 198437 w 1108419"/>
                  <a:gd name="connsiteY61" fmla="*/ 390525 h 846138"/>
                  <a:gd name="connsiteX62" fmla="*/ 17311 w 1108419"/>
                  <a:gd name="connsiteY62" fmla="*/ 390525 h 846138"/>
                  <a:gd name="connsiteX63" fmla="*/ 166687 w 1108419"/>
                  <a:gd name="connsiteY63" fmla="*/ 390525 h 846138"/>
                  <a:gd name="connsiteX64" fmla="*/ 166687 w 1108419"/>
                  <a:gd name="connsiteY64" fmla="*/ 439738 h 846138"/>
                  <a:gd name="connsiteX65" fmla="*/ 1587 w 1108419"/>
                  <a:gd name="connsiteY65" fmla="*/ 439738 h 846138"/>
                  <a:gd name="connsiteX66" fmla="*/ 1587 w 1108419"/>
                  <a:gd name="connsiteY66" fmla="*/ 406216 h 846138"/>
                  <a:gd name="connsiteX67" fmla="*/ 17311 w 1108419"/>
                  <a:gd name="connsiteY67" fmla="*/ 390525 h 846138"/>
                  <a:gd name="connsiteX68" fmla="*/ 439737 w 1108419"/>
                  <a:gd name="connsiteY68" fmla="*/ 0 h 846138"/>
                  <a:gd name="connsiteX69" fmla="*/ 446857 w 1108419"/>
                  <a:gd name="connsiteY69" fmla="*/ 0 h 846138"/>
                  <a:gd name="connsiteX70" fmla="*/ 667568 w 1108419"/>
                  <a:gd name="connsiteY70" fmla="*/ 0 h 846138"/>
                  <a:gd name="connsiteX71" fmla="*/ 674687 w 1108419"/>
                  <a:gd name="connsiteY71" fmla="*/ 0 h 846138"/>
                  <a:gd name="connsiteX72" fmla="*/ 674687 w 1108419"/>
                  <a:gd name="connsiteY72" fmla="*/ 30490 h 846138"/>
                  <a:gd name="connsiteX73" fmla="*/ 674687 w 1108419"/>
                  <a:gd name="connsiteY73" fmla="*/ 204216 h 846138"/>
                  <a:gd name="connsiteX74" fmla="*/ 668991 w 1108419"/>
                  <a:gd name="connsiteY74" fmla="*/ 209179 h 846138"/>
                  <a:gd name="connsiteX75" fmla="*/ 666144 w 1108419"/>
                  <a:gd name="connsiteY75" fmla="*/ 208470 h 846138"/>
                  <a:gd name="connsiteX76" fmla="*/ 641225 w 1108419"/>
                  <a:gd name="connsiteY76" fmla="*/ 194998 h 846138"/>
                  <a:gd name="connsiteX77" fmla="*/ 638377 w 1108419"/>
                  <a:gd name="connsiteY77" fmla="*/ 194289 h 846138"/>
                  <a:gd name="connsiteX78" fmla="*/ 635529 w 1108419"/>
                  <a:gd name="connsiteY78" fmla="*/ 194998 h 846138"/>
                  <a:gd name="connsiteX79" fmla="*/ 603490 w 1108419"/>
                  <a:gd name="connsiteY79" fmla="*/ 212016 h 846138"/>
                  <a:gd name="connsiteX80" fmla="*/ 600642 w 1108419"/>
                  <a:gd name="connsiteY80" fmla="*/ 212725 h 846138"/>
                  <a:gd name="connsiteX81" fmla="*/ 597795 w 1108419"/>
                  <a:gd name="connsiteY81" fmla="*/ 212016 h 846138"/>
                  <a:gd name="connsiteX82" fmla="*/ 560060 w 1108419"/>
                  <a:gd name="connsiteY82" fmla="*/ 194998 h 846138"/>
                  <a:gd name="connsiteX83" fmla="*/ 557212 w 1108419"/>
                  <a:gd name="connsiteY83" fmla="*/ 194289 h 846138"/>
                  <a:gd name="connsiteX84" fmla="*/ 554364 w 1108419"/>
                  <a:gd name="connsiteY84" fmla="*/ 194998 h 846138"/>
                  <a:gd name="connsiteX85" fmla="*/ 517342 w 1108419"/>
                  <a:gd name="connsiteY85" fmla="*/ 212016 h 846138"/>
                  <a:gd name="connsiteX86" fmla="*/ 515206 w 1108419"/>
                  <a:gd name="connsiteY86" fmla="*/ 212725 h 846138"/>
                  <a:gd name="connsiteX87" fmla="*/ 511646 w 1108419"/>
                  <a:gd name="connsiteY87" fmla="*/ 212016 h 846138"/>
                  <a:gd name="connsiteX88" fmla="*/ 478896 w 1108419"/>
                  <a:gd name="connsiteY88" fmla="*/ 194998 h 846138"/>
                  <a:gd name="connsiteX89" fmla="*/ 476760 w 1108419"/>
                  <a:gd name="connsiteY89" fmla="*/ 194289 h 846138"/>
                  <a:gd name="connsiteX90" fmla="*/ 473912 w 1108419"/>
                  <a:gd name="connsiteY90" fmla="*/ 194998 h 846138"/>
                  <a:gd name="connsiteX91" fmla="*/ 448281 w 1108419"/>
                  <a:gd name="connsiteY91" fmla="*/ 208470 h 846138"/>
                  <a:gd name="connsiteX92" fmla="*/ 444721 w 1108419"/>
                  <a:gd name="connsiteY92" fmla="*/ 209179 h 846138"/>
                  <a:gd name="connsiteX93" fmla="*/ 439737 w 1108419"/>
                  <a:gd name="connsiteY93" fmla="*/ 204216 h 846138"/>
                  <a:gd name="connsiteX94" fmla="*/ 439737 w 1108419"/>
                  <a:gd name="connsiteY94" fmla="*/ 30490 h 846138"/>
                  <a:gd name="connsiteX95" fmla="*/ 439737 w 1108419"/>
                  <a:gd name="connsiteY95" fmla="*/ 0 h 846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1108419" h="846138">
                    <a:moveTo>
                      <a:pt x="15729" y="814388"/>
                    </a:moveTo>
                    <a:cubicBezTo>
                      <a:pt x="15729" y="814388"/>
                      <a:pt x="15729" y="814388"/>
                      <a:pt x="172310" y="814388"/>
                    </a:cubicBezTo>
                    <a:cubicBezTo>
                      <a:pt x="180175" y="814388"/>
                      <a:pt x="187325" y="821772"/>
                      <a:pt x="187325" y="830632"/>
                    </a:cubicBezTo>
                    <a:cubicBezTo>
                      <a:pt x="187325" y="839493"/>
                      <a:pt x="180175" y="846138"/>
                      <a:pt x="172310" y="846138"/>
                    </a:cubicBezTo>
                    <a:cubicBezTo>
                      <a:pt x="172310" y="846138"/>
                      <a:pt x="172310" y="846138"/>
                      <a:pt x="15729" y="846138"/>
                    </a:cubicBezTo>
                    <a:cubicBezTo>
                      <a:pt x="7150" y="846138"/>
                      <a:pt x="0" y="839493"/>
                      <a:pt x="0" y="830632"/>
                    </a:cubicBezTo>
                    <a:cubicBezTo>
                      <a:pt x="0" y="821772"/>
                      <a:pt x="7150" y="814388"/>
                      <a:pt x="15729" y="814388"/>
                    </a:cubicBezTo>
                    <a:close/>
                    <a:moveTo>
                      <a:pt x="15772" y="755650"/>
                    </a:moveTo>
                    <a:cubicBezTo>
                      <a:pt x="15772" y="755650"/>
                      <a:pt x="15772" y="755650"/>
                      <a:pt x="296095" y="755650"/>
                    </a:cubicBezTo>
                    <a:cubicBezTo>
                      <a:pt x="303981" y="755650"/>
                      <a:pt x="311150" y="762665"/>
                      <a:pt x="311150" y="771082"/>
                    </a:cubicBezTo>
                    <a:cubicBezTo>
                      <a:pt x="311150" y="779500"/>
                      <a:pt x="303981" y="785813"/>
                      <a:pt x="296095" y="785813"/>
                    </a:cubicBezTo>
                    <a:cubicBezTo>
                      <a:pt x="296095" y="785813"/>
                      <a:pt x="296095" y="785813"/>
                      <a:pt x="15772" y="785813"/>
                    </a:cubicBezTo>
                    <a:cubicBezTo>
                      <a:pt x="7169" y="785813"/>
                      <a:pt x="0" y="779500"/>
                      <a:pt x="0" y="771082"/>
                    </a:cubicBezTo>
                    <a:cubicBezTo>
                      <a:pt x="0" y="762665"/>
                      <a:pt x="7169" y="755650"/>
                      <a:pt x="15772" y="755650"/>
                    </a:cubicBezTo>
                    <a:close/>
                    <a:moveTo>
                      <a:pt x="15795" y="695325"/>
                    </a:moveTo>
                    <a:cubicBezTo>
                      <a:pt x="15795" y="695325"/>
                      <a:pt x="15795" y="695325"/>
                      <a:pt x="269955" y="695325"/>
                    </a:cubicBezTo>
                    <a:cubicBezTo>
                      <a:pt x="278571" y="695325"/>
                      <a:pt x="285750" y="702340"/>
                      <a:pt x="285750" y="710757"/>
                    </a:cubicBezTo>
                    <a:cubicBezTo>
                      <a:pt x="285750" y="719876"/>
                      <a:pt x="278571" y="725488"/>
                      <a:pt x="269955" y="725488"/>
                    </a:cubicBezTo>
                    <a:cubicBezTo>
                      <a:pt x="269955" y="725488"/>
                      <a:pt x="269955" y="725488"/>
                      <a:pt x="15795" y="725488"/>
                    </a:cubicBezTo>
                    <a:cubicBezTo>
                      <a:pt x="7179" y="725488"/>
                      <a:pt x="0" y="719876"/>
                      <a:pt x="0" y="710757"/>
                    </a:cubicBezTo>
                    <a:cubicBezTo>
                      <a:pt x="0" y="702340"/>
                      <a:pt x="7179" y="695325"/>
                      <a:pt x="15795" y="695325"/>
                    </a:cubicBezTo>
                    <a:close/>
                    <a:moveTo>
                      <a:pt x="1022350" y="657225"/>
                    </a:moveTo>
                    <a:cubicBezTo>
                      <a:pt x="1023769" y="657225"/>
                      <a:pt x="1024479" y="657225"/>
                      <a:pt x="1025189" y="657941"/>
                    </a:cubicBezTo>
                    <a:cubicBezTo>
                      <a:pt x="1026609" y="657941"/>
                      <a:pt x="1027319" y="657941"/>
                      <a:pt x="1028029" y="658656"/>
                    </a:cubicBezTo>
                    <a:cubicBezTo>
                      <a:pt x="1028029" y="658656"/>
                      <a:pt x="1028029" y="658656"/>
                      <a:pt x="1028738" y="658656"/>
                    </a:cubicBezTo>
                    <a:cubicBezTo>
                      <a:pt x="1029448" y="658656"/>
                      <a:pt x="1030158" y="659372"/>
                      <a:pt x="1030868" y="659372"/>
                    </a:cubicBezTo>
                    <a:cubicBezTo>
                      <a:pt x="1032288" y="660087"/>
                      <a:pt x="1032998" y="660803"/>
                      <a:pt x="1033707" y="661519"/>
                    </a:cubicBezTo>
                    <a:cubicBezTo>
                      <a:pt x="1104693" y="733077"/>
                      <a:pt x="1104693" y="733077"/>
                      <a:pt x="1104693" y="733077"/>
                    </a:cubicBezTo>
                    <a:cubicBezTo>
                      <a:pt x="1109662" y="738801"/>
                      <a:pt x="1109662" y="748819"/>
                      <a:pt x="1104693" y="754544"/>
                    </a:cubicBezTo>
                    <a:cubicBezTo>
                      <a:pt x="1101854" y="757406"/>
                      <a:pt x="1097595" y="758837"/>
                      <a:pt x="1093336" y="758837"/>
                    </a:cubicBezTo>
                    <a:cubicBezTo>
                      <a:pt x="1089786" y="758837"/>
                      <a:pt x="1085527" y="757406"/>
                      <a:pt x="1082688" y="754544"/>
                    </a:cubicBezTo>
                    <a:cubicBezTo>
                      <a:pt x="1037967" y="709462"/>
                      <a:pt x="1037967" y="709462"/>
                      <a:pt x="1037967" y="709462"/>
                    </a:cubicBezTo>
                    <a:cubicBezTo>
                      <a:pt x="1037967" y="831111"/>
                      <a:pt x="1037967" y="831111"/>
                      <a:pt x="1037967" y="831111"/>
                    </a:cubicBezTo>
                    <a:cubicBezTo>
                      <a:pt x="1037967" y="839698"/>
                      <a:pt x="1030868" y="846138"/>
                      <a:pt x="1022350" y="846138"/>
                    </a:cubicBezTo>
                    <a:cubicBezTo>
                      <a:pt x="1014541" y="846138"/>
                      <a:pt x="1007443" y="839698"/>
                      <a:pt x="1007443" y="831111"/>
                    </a:cubicBezTo>
                    <a:cubicBezTo>
                      <a:pt x="1007443" y="709462"/>
                      <a:pt x="1007443" y="709462"/>
                      <a:pt x="1007443" y="709462"/>
                    </a:cubicBezTo>
                    <a:cubicBezTo>
                      <a:pt x="962722" y="754544"/>
                      <a:pt x="962722" y="754544"/>
                      <a:pt x="962722" y="754544"/>
                    </a:cubicBezTo>
                    <a:cubicBezTo>
                      <a:pt x="957043" y="760984"/>
                      <a:pt x="947105" y="760984"/>
                      <a:pt x="941426" y="754544"/>
                    </a:cubicBezTo>
                    <a:cubicBezTo>
                      <a:pt x="935037" y="748819"/>
                      <a:pt x="935037" y="738801"/>
                      <a:pt x="941426" y="733077"/>
                    </a:cubicBezTo>
                    <a:cubicBezTo>
                      <a:pt x="1012412" y="661519"/>
                      <a:pt x="1012412" y="661519"/>
                      <a:pt x="1012412" y="661519"/>
                    </a:cubicBezTo>
                    <a:cubicBezTo>
                      <a:pt x="1013122" y="660803"/>
                      <a:pt x="1013831" y="660087"/>
                      <a:pt x="1014541" y="659372"/>
                    </a:cubicBezTo>
                    <a:cubicBezTo>
                      <a:pt x="1015251" y="659372"/>
                      <a:pt x="1016671" y="658656"/>
                      <a:pt x="1016671" y="658656"/>
                    </a:cubicBezTo>
                    <a:cubicBezTo>
                      <a:pt x="1017381" y="657941"/>
                      <a:pt x="1018800" y="657941"/>
                      <a:pt x="1019510" y="657941"/>
                    </a:cubicBezTo>
                    <a:cubicBezTo>
                      <a:pt x="1020220" y="657225"/>
                      <a:pt x="1021640" y="657225"/>
                      <a:pt x="1022350" y="657225"/>
                    </a:cubicBezTo>
                    <a:close/>
                    <a:moveTo>
                      <a:pt x="198437" y="471488"/>
                    </a:moveTo>
                    <a:cubicBezTo>
                      <a:pt x="198437" y="471488"/>
                      <a:pt x="198437" y="471488"/>
                      <a:pt x="263525" y="471488"/>
                    </a:cubicBezTo>
                    <a:cubicBezTo>
                      <a:pt x="263525" y="471488"/>
                      <a:pt x="263525" y="471488"/>
                      <a:pt x="263525" y="505234"/>
                    </a:cubicBezTo>
                    <a:cubicBezTo>
                      <a:pt x="263525" y="513671"/>
                      <a:pt x="256373" y="520701"/>
                      <a:pt x="247790" y="520701"/>
                    </a:cubicBezTo>
                    <a:cubicBezTo>
                      <a:pt x="247790" y="520701"/>
                      <a:pt x="247790" y="520701"/>
                      <a:pt x="198437" y="520701"/>
                    </a:cubicBezTo>
                    <a:cubicBezTo>
                      <a:pt x="198437" y="520701"/>
                      <a:pt x="198437" y="520701"/>
                      <a:pt x="198437" y="471488"/>
                    </a:cubicBezTo>
                    <a:close/>
                    <a:moveTo>
                      <a:pt x="1587" y="471488"/>
                    </a:moveTo>
                    <a:cubicBezTo>
                      <a:pt x="1587" y="471488"/>
                      <a:pt x="1587" y="471488"/>
                      <a:pt x="166687" y="471488"/>
                    </a:cubicBezTo>
                    <a:cubicBezTo>
                      <a:pt x="166687" y="471488"/>
                      <a:pt x="166687" y="471488"/>
                      <a:pt x="166687" y="520701"/>
                    </a:cubicBezTo>
                    <a:cubicBezTo>
                      <a:pt x="166687" y="520701"/>
                      <a:pt x="166687" y="520701"/>
                      <a:pt x="17311" y="520701"/>
                    </a:cubicBezTo>
                    <a:cubicBezTo>
                      <a:pt x="8734" y="520701"/>
                      <a:pt x="1587" y="513671"/>
                      <a:pt x="1587" y="505234"/>
                    </a:cubicBezTo>
                    <a:cubicBezTo>
                      <a:pt x="1587" y="505234"/>
                      <a:pt x="1587" y="505234"/>
                      <a:pt x="1587" y="471488"/>
                    </a:cubicBezTo>
                    <a:close/>
                    <a:moveTo>
                      <a:pt x="198437" y="390525"/>
                    </a:moveTo>
                    <a:cubicBezTo>
                      <a:pt x="198437" y="390525"/>
                      <a:pt x="198437" y="390525"/>
                      <a:pt x="247790" y="390525"/>
                    </a:cubicBezTo>
                    <a:cubicBezTo>
                      <a:pt x="256373" y="390525"/>
                      <a:pt x="263525" y="397657"/>
                      <a:pt x="263525" y="406216"/>
                    </a:cubicBezTo>
                    <a:lnTo>
                      <a:pt x="263525" y="439738"/>
                    </a:lnTo>
                    <a:cubicBezTo>
                      <a:pt x="263525" y="439738"/>
                      <a:pt x="263525" y="439738"/>
                      <a:pt x="198437" y="439738"/>
                    </a:cubicBezTo>
                    <a:cubicBezTo>
                      <a:pt x="198437" y="439738"/>
                      <a:pt x="198437" y="439738"/>
                      <a:pt x="198437" y="390525"/>
                    </a:cubicBezTo>
                    <a:close/>
                    <a:moveTo>
                      <a:pt x="17311" y="390525"/>
                    </a:moveTo>
                    <a:cubicBezTo>
                      <a:pt x="17311" y="390525"/>
                      <a:pt x="17311" y="390525"/>
                      <a:pt x="166687" y="390525"/>
                    </a:cubicBezTo>
                    <a:lnTo>
                      <a:pt x="166687" y="439738"/>
                    </a:lnTo>
                    <a:cubicBezTo>
                      <a:pt x="166687" y="439738"/>
                      <a:pt x="166687" y="439738"/>
                      <a:pt x="1587" y="439738"/>
                    </a:cubicBezTo>
                    <a:cubicBezTo>
                      <a:pt x="1587" y="439738"/>
                      <a:pt x="1587" y="439738"/>
                      <a:pt x="1587" y="406216"/>
                    </a:cubicBezTo>
                    <a:cubicBezTo>
                      <a:pt x="1587" y="397657"/>
                      <a:pt x="8734" y="390525"/>
                      <a:pt x="17311" y="390525"/>
                    </a:cubicBezTo>
                    <a:close/>
                    <a:moveTo>
                      <a:pt x="439737" y="0"/>
                    </a:moveTo>
                    <a:cubicBezTo>
                      <a:pt x="439737" y="0"/>
                      <a:pt x="439737" y="0"/>
                      <a:pt x="446857" y="0"/>
                    </a:cubicBezTo>
                    <a:lnTo>
                      <a:pt x="667568" y="0"/>
                    </a:lnTo>
                    <a:cubicBezTo>
                      <a:pt x="667568" y="0"/>
                      <a:pt x="667568" y="0"/>
                      <a:pt x="674687" y="0"/>
                    </a:cubicBezTo>
                    <a:cubicBezTo>
                      <a:pt x="674687" y="0"/>
                      <a:pt x="674687" y="6382"/>
                      <a:pt x="674687" y="30490"/>
                    </a:cubicBezTo>
                    <a:cubicBezTo>
                      <a:pt x="674687" y="58145"/>
                      <a:pt x="674687" y="109908"/>
                      <a:pt x="674687" y="204216"/>
                    </a:cubicBezTo>
                    <a:cubicBezTo>
                      <a:pt x="674687" y="207761"/>
                      <a:pt x="671839" y="209179"/>
                      <a:pt x="668991" y="209179"/>
                    </a:cubicBezTo>
                    <a:cubicBezTo>
                      <a:pt x="668280" y="209179"/>
                      <a:pt x="667568" y="209179"/>
                      <a:pt x="666144" y="208470"/>
                    </a:cubicBezTo>
                    <a:cubicBezTo>
                      <a:pt x="666144" y="208470"/>
                      <a:pt x="666144" y="208470"/>
                      <a:pt x="641225" y="194998"/>
                    </a:cubicBezTo>
                    <a:cubicBezTo>
                      <a:pt x="640513" y="194289"/>
                      <a:pt x="639801" y="194289"/>
                      <a:pt x="638377" y="194289"/>
                    </a:cubicBezTo>
                    <a:cubicBezTo>
                      <a:pt x="637665" y="194289"/>
                      <a:pt x="636241" y="194289"/>
                      <a:pt x="635529" y="194998"/>
                    </a:cubicBezTo>
                    <a:cubicBezTo>
                      <a:pt x="635529" y="194998"/>
                      <a:pt x="635529" y="194998"/>
                      <a:pt x="603490" y="212016"/>
                    </a:cubicBezTo>
                    <a:cubicBezTo>
                      <a:pt x="602778" y="212016"/>
                      <a:pt x="601354" y="212725"/>
                      <a:pt x="600642" y="212725"/>
                    </a:cubicBezTo>
                    <a:cubicBezTo>
                      <a:pt x="599930" y="212725"/>
                      <a:pt x="598506" y="212016"/>
                      <a:pt x="597795" y="212016"/>
                    </a:cubicBezTo>
                    <a:cubicBezTo>
                      <a:pt x="597795" y="212016"/>
                      <a:pt x="597795" y="212016"/>
                      <a:pt x="560060" y="194998"/>
                    </a:cubicBezTo>
                    <a:cubicBezTo>
                      <a:pt x="558636" y="194289"/>
                      <a:pt x="557924" y="194289"/>
                      <a:pt x="557212" y="194289"/>
                    </a:cubicBezTo>
                    <a:cubicBezTo>
                      <a:pt x="556500" y="194289"/>
                      <a:pt x="555076" y="194289"/>
                      <a:pt x="554364" y="194998"/>
                    </a:cubicBezTo>
                    <a:cubicBezTo>
                      <a:pt x="554364" y="194998"/>
                      <a:pt x="554364" y="194998"/>
                      <a:pt x="517342" y="212016"/>
                    </a:cubicBezTo>
                    <a:cubicBezTo>
                      <a:pt x="516630" y="212016"/>
                      <a:pt x="515918" y="212725"/>
                      <a:pt x="515206" y="212725"/>
                    </a:cubicBezTo>
                    <a:cubicBezTo>
                      <a:pt x="513782" y="212725"/>
                      <a:pt x="513070" y="212016"/>
                      <a:pt x="511646" y="212016"/>
                    </a:cubicBezTo>
                    <a:cubicBezTo>
                      <a:pt x="511646" y="212016"/>
                      <a:pt x="511646" y="212016"/>
                      <a:pt x="478896" y="194998"/>
                    </a:cubicBezTo>
                    <a:cubicBezTo>
                      <a:pt x="478896" y="194289"/>
                      <a:pt x="477472" y="194289"/>
                      <a:pt x="476760" y="194289"/>
                    </a:cubicBezTo>
                    <a:cubicBezTo>
                      <a:pt x="475336" y="194289"/>
                      <a:pt x="474624" y="194289"/>
                      <a:pt x="473912" y="194998"/>
                    </a:cubicBezTo>
                    <a:cubicBezTo>
                      <a:pt x="473912" y="194998"/>
                      <a:pt x="473912" y="194998"/>
                      <a:pt x="448281" y="208470"/>
                    </a:cubicBezTo>
                    <a:cubicBezTo>
                      <a:pt x="446857" y="209179"/>
                      <a:pt x="446145" y="209179"/>
                      <a:pt x="444721" y="209179"/>
                    </a:cubicBezTo>
                    <a:cubicBezTo>
                      <a:pt x="441873" y="209179"/>
                      <a:pt x="439737" y="207761"/>
                      <a:pt x="439737" y="204216"/>
                    </a:cubicBezTo>
                    <a:cubicBezTo>
                      <a:pt x="439737" y="204216"/>
                      <a:pt x="439737" y="204216"/>
                      <a:pt x="439737" y="30490"/>
                    </a:cubicBezTo>
                    <a:cubicBezTo>
                      <a:pt x="439737" y="30490"/>
                      <a:pt x="439737" y="30490"/>
                      <a:pt x="439737" y="0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3888761" y="1577895"/>
            <a:ext cx="101852" cy="91003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177" name="bcgIcons_SmartPhone">
            <a:extLst>
              <a:ext uri="{FF2B5EF4-FFF2-40B4-BE49-F238E27FC236}">
                <a16:creationId xmlns:a16="http://schemas.microsoft.com/office/drawing/2014/main" id="{860CC7CA-9F4C-42B3-8A8E-540ACC9BD3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32435" y="2029771"/>
            <a:ext cx="457200" cy="457200"/>
            <a:chOff x="1682" y="0"/>
            <a:chExt cx="4316" cy="4320"/>
          </a:xfrm>
        </p:grpSpPr>
        <p:sp>
          <p:nvSpPr>
            <p:cNvPr id="178" name="AutoShape 13">
              <a:extLst>
                <a:ext uri="{FF2B5EF4-FFF2-40B4-BE49-F238E27FC236}">
                  <a16:creationId xmlns:a16="http://schemas.microsoft.com/office/drawing/2014/main" id="{CB5E192C-1D4A-4BC6-892D-079D9F00354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79" name="Freeform 15">
              <a:extLst>
                <a:ext uri="{FF2B5EF4-FFF2-40B4-BE49-F238E27FC236}">
                  <a16:creationId xmlns:a16="http://schemas.microsoft.com/office/drawing/2014/main" id="{DA725996-F4C4-4D12-BF2B-DE0A4289C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7" y="726"/>
              <a:ext cx="1510" cy="2865"/>
            </a:xfrm>
            <a:custGeom>
              <a:avLst/>
              <a:gdLst>
                <a:gd name="T0" fmla="*/ 784 w 806"/>
                <a:gd name="T1" fmla="*/ 0 h 1528"/>
                <a:gd name="T2" fmla="*/ 22 w 806"/>
                <a:gd name="T3" fmla="*/ 0 h 1528"/>
                <a:gd name="T4" fmla="*/ 0 w 806"/>
                <a:gd name="T5" fmla="*/ 22 h 1528"/>
                <a:gd name="T6" fmla="*/ 0 w 806"/>
                <a:gd name="T7" fmla="*/ 1252 h 1528"/>
                <a:gd name="T8" fmla="*/ 0 w 806"/>
                <a:gd name="T9" fmla="*/ 1296 h 1528"/>
                <a:gd name="T10" fmla="*/ 0 w 806"/>
                <a:gd name="T11" fmla="*/ 1506 h 1528"/>
                <a:gd name="T12" fmla="*/ 22 w 806"/>
                <a:gd name="T13" fmla="*/ 1528 h 1528"/>
                <a:gd name="T14" fmla="*/ 784 w 806"/>
                <a:gd name="T15" fmla="*/ 1528 h 1528"/>
                <a:gd name="T16" fmla="*/ 806 w 806"/>
                <a:gd name="T17" fmla="*/ 1506 h 1528"/>
                <a:gd name="T18" fmla="*/ 806 w 806"/>
                <a:gd name="T19" fmla="*/ 1296 h 1528"/>
                <a:gd name="T20" fmla="*/ 806 w 806"/>
                <a:gd name="T21" fmla="*/ 1252 h 1528"/>
                <a:gd name="T22" fmla="*/ 806 w 806"/>
                <a:gd name="T23" fmla="*/ 22 h 1528"/>
                <a:gd name="T24" fmla="*/ 784 w 806"/>
                <a:gd name="T25" fmla="*/ 0 h 1528"/>
                <a:gd name="T26" fmla="*/ 762 w 806"/>
                <a:gd name="T27" fmla="*/ 1484 h 1528"/>
                <a:gd name="T28" fmla="*/ 44 w 806"/>
                <a:gd name="T29" fmla="*/ 1484 h 1528"/>
                <a:gd name="T30" fmla="*/ 44 w 806"/>
                <a:gd name="T31" fmla="*/ 1296 h 1528"/>
                <a:gd name="T32" fmla="*/ 762 w 806"/>
                <a:gd name="T33" fmla="*/ 1296 h 1528"/>
                <a:gd name="T34" fmla="*/ 762 w 806"/>
                <a:gd name="T35" fmla="*/ 1484 h 1528"/>
                <a:gd name="T36" fmla="*/ 44 w 806"/>
                <a:gd name="T37" fmla="*/ 1252 h 1528"/>
                <a:gd name="T38" fmla="*/ 44 w 806"/>
                <a:gd name="T39" fmla="*/ 44 h 1528"/>
                <a:gd name="T40" fmla="*/ 762 w 806"/>
                <a:gd name="T41" fmla="*/ 44 h 1528"/>
                <a:gd name="T42" fmla="*/ 762 w 806"/>
                <a:gd name="T43" fmla="*/ 1252 h 1528"/>
                <a:gd name="T44" fmla="*/ 44 w 806"/>
                <a:gd name="T45" fmla="*/ 1252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6" h="1528">
                  <a:moveTo>
                    <a:pt x="78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52"/>
                    <a:pt x="0" y="1252"/>
                    <a:pt x="0" y="1252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506"/>
                    <a:pt x="0" y="1506"/>
                    <a:pt x="0" y="1506"/>
                  </a:cubicBezTo>
                  <a:cubicBezTo>
                    <a:pt x="0" y="1518"/>
                    <a:pt x="10" y="1528"/>
                    <a:pt x="22" y="1528"/>
                  </a:cubicBezTo>
                  <a:cubicBezTo>
                    <a:pt x="784" y="1528"/>
                    <a:pt x="784" y="1528"/>
                    <a:pt x="784" y="1528"/>
                  </a:cubicBezTo>
                  <a:cubicBezTo>
                    <a:pt x="796" y="1528"/>
                    <a:pt x="806" y="1518"/>
                    <a:pt x="806" y="1506"/>
                  </a:cubicBezTo>
                  <a:cubicBezTo>
                    <a:pt x="806" y="1296"/>
                    <a:pt x="806" y="1296"/>
                    <a:pt x="806" y="1296"/>
                  </a:cubicBezTo>
                  <a:cubicBezTo>
                    <a:pt x="806" y="1252"/>
                    <a:pt x="806" y="1252"/>
                    <a:pt x="806" y="1252"/>
                  </a:cubicBezTo>
                  <a:cubicBezTo>
                    <a:pt x="806" y="22"/>
                    <a:pt x="806" y="22"/>
                    <a:pt x="806" y="22"/>
                  </a:cubicBezTo>
                  <a:cubicBezTo>
                    <a:pt x="806" y="10"/>
                    <a:pt x="796" y="0"/>
                    <a:pt x="784" y="0"/>
                  </a:cubicBezTo>
                  <a:close/>
                  <a:moveTo>
                    <a:pt x="762" y="1484"/>
                  </a:moveTo>
                  <a:cubicBezTo>
                    <a:pt x="44" y="1484"/>
                    <a:pt x="44" y="1484"/>
                    <a:pt x="44" y="1484"/>
                  </a:cubicBezTo>
                  <a:cubicBezTo>
                    <a:pt x="44" y="1296"/>
                    <a:pt x="44" y="1296"/>
                    <a:pt x="44" y="1296"/>
                  </a:cubicBezTo>
                  <a:cubicBezTo>
                    <a:pt x="762" y="1296"/>
                    <a:pt x="762" y="1296"/>
                    <a:pt x="762" y="1296"/>
                  </a:cubicBezTo>
                  <a:lnTo>
                    <a:pt x="762" y="1484"/>
                  </a:lnTo>
                  <a:close/>
                  <a:moveTo>
                    <a:pt x="44" y="1252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762" y="44"/>
                    <a:pt x="762" y="44"/>
                    <a:pt x="762" y="44"/>
                  </a:cubicBezTo>
                  <a:cubicBezTo>
                    <a:pt x="762" y="1252"/>
                    <a:pt x="762" y="1252"/>
                    <a:pt x="762" y="1252"/>
                  </a:cubicBezTo>
                  <a:lnTo>
                    <a:pt x="44" y="1252"/>
                  </a:ln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80" name="Freeform 16">
              <a:extLst>
                <a:ext uri="{FF2B5EF4-FFF2-40B4-BE49-F238E27FC236}">
                  <a16:creationId xmlns:a16="http://schemas.microsoft.com/office/drawing/2014/main" id="{9686836C-98FA-4BA9-914A-53B6469437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1" y="917"/>
              <a:ext cx="1195" cy="2512"/>
            </a:xfrm>
            <a:custGeom>
              <a:avLst/>
              <a:gdLst>
                <a:gd name="T0" fmla="*/ 321 w 638"/>
                <a:gd name="T1" fmla="*/ 1340 h 1340"/>
                <a:gd name="T2" fmla="*/ 263 w 638"/>
                <a:gd name="T3" fmla="*/ 1282 h 1340"/>
                <a:gd name="T4" fmla="*/ 321 w 638"/>
                <a:gd name="T5" fmla="*/ 1224 h 1340"/>
                <a:gd name="T6" fmla="*/ 379 w 638"/>
                <a:gd name="T7" fmla="*/ 1282 h 1340"/>
                <a:gd name="T8" fmla="*/ 321 w 638"/>
                <a:gd name="T9" fmla="*/ 1340 h 1340"/>
                <a:gd name="T10" fmla="*/ 638 w 638"/>
                <a:gd name="T11" fmla="*/ 1092 h 1340"/>
                <a:gd name="T12" fmla="*/ 638 w 638"/>
                <a:gd name="T13" fmla="*/ 115 h 1340"/>
                <a:gd name="T14" fmla="*/ 628 w 638"/>
                <a:gd name="T15" fmla="*/ 105 h 1340"/>
                <a:gd name="T16" fmla="*/ 10 w 638"/>
                <a:gd name="T17" fmla="*/ 105 h 1340"/>
                <a:gd name="T18" fmla="*/ 0 w 638"/>
                <a:gd name="T19" fmla="*/ 115 h 1340"/>
                <a:gd name="T20" fmla="*/ 0 w 638"/>
                <a:gd name="T21" fmla="*/ 1092 h 1340"/>
                <a:gd name="T22" fmla="*/ 10 w 638"/>
                <a:gd name="T23" fmla="*/ 1102 h 1340"/>
                <a:gd name="T24" fmla="*/ 628 w 638"/>
                <a:gd name="T25" fmla="*/ 1102 h 1340"/>
                <a:gd name="T26" fmla="*/ 638 w 638"/>
                <a:gd name="T27" fmla="*/ 1092 h 1340"/>
                <a:gd name="T28" fmla="*/ 469 w 638"/>
                <a:gd name="T29" fmla="*/ 22 h 1340"/>
                <a:gd name="T30" fmla="*/ 447 w 638"/>
                <a:gd name="T31" fmla="*/ 0 h 1340"/>
                <a:gd name="T32" fmla="*/ 195 w 638"/>
                <a:gd name="T33" fmla="*/ 0 h 1340"/>
                <a:gd name="T34" fmla="*/ 173 w 638"/>
                <a:gd name="T35" fmla="*/ 22 h 1340"/>
                <a:gd name="T36" fmla="*/ 195 w 638"/>
                <a:gd name="T37" fmla="*/ 44 h 1340"/>
                <a:gd name="T38" fmla="*/ 447 w 638"/>
                <a:gd name="T39" fmla="*/ 44 h 1340"/>
                <a:gd name="T40" fmla="*/ 469 w 638"/>
                <a:gd name="T41" fmla="*/ 22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340">
                  <a:moveTo>
                    <a:pt x="321" y="1340"/>
                  </a:moveTo>
                  <a:cubicBezTo>
                    <a:pt x="289" y="1340"/>
                    <a:pt x="263" y="1314"/>
                    <a:pt x="263" y="1282"/>
                  </a:cubicBezTo>
                  <a:cubicBezTo>
                    <a:pt x="263" y="1250"/>
                    <a:pt x="289" y="1224"/>
                    <a:pt x="321" y="1224"/>
                  </a:cubicBezTo>
                  <a:cubicBezTo>
                    <a:pt x="353" y="1224"/>
                    <a:pt x="379" y="1250"/>
                    <a:pt x="379" y="1282"/>
                  </a:cubicBezTo>
                  <a:cubicBezTo>
                    <a:pt x="379" y="1314"/>
                    <a:pt x="353" y="1340"/>
                    <a:pt x="321" y="1340"/>
                  </a:cubicBezTo>
                  <a:close/>
                  <a:moveTo>
                    <a:pt x="638" y="1092"/>
                  </a:moveTo>
                  <a:cubicBezTo>
                    <a:pt x="638" y="115"/>
                    <a:pt x="638" y="115"/>
                    <a:pt x="638" y="115"/>
                  </a:cubicBezTo>
                  <a:cubicBezTo>
                    <a:pt x="638" y="110"/>
                    <a:pt x="634" y="105"/>
                    <a:pt x="628" y="10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4" y="105"/>
                    <a:pt x="0" y="110"/>
                    <a:pt x="0" y="115"/>
                  </a:cubicBezTo>
                  <a:cubicBezTo>
                    <a:pt x="0" y="1092"/>
                    <a:pt x="0" y="1092"/>
                    <a:pt x="0" y="1092"/>
                  </a:cubicBezTo>
                  <a:cubicBezTo>
                    <a:pt x="0" y="1098"/>
                    <a:pt x="4" y="1102"/>
                    <a:pt x="10" y="1102"/>
                  </a:cubicBezTo>
                  <a:cubicBezTo>
                    <a:pt x="628" y="1102"/>
                    <a:pt x="628" y="1102"/>
                    <a:pt x="628" y="1102"/>
                  </a:cubicBezTo>
                  <a:cubicBezTo>
                    <a:pt x="634" y="1102"/>
                    <a:pt x="638" y="1098"/>
                    <a:pt x="638" y="1092"/>
                  </a:cubicBezTo>
                  <a:close/>
                  <a:moveTo>
                    <a:pt x="469" y="22"/>
                  </a:moveTo>
                  <a:cubicBezTo>
                    <a:pt x="469" y="10"/>
                    <a:pt x="459" y="0"/>
                    <a:pt x="447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83" y="0"/>
                    <a:pt x="173" y="10"/>
                    <a:pt x="173" y="22"/>
                  </a:cubicBezTo>
                  <a:cubicBezTo>
                    <a:pt x="173" y="34"/>
                    <a:pt x="183" y="44"/>
                    <a:pt x="195" y="44"/>
                  </a:cubicBezTo>
                  <a:cubicBezTo>
                    <a:pt x="447" y="44"/>
                    <a:pt x="447" y="44"/>
                    <a:pt x="447" y="44"/>
                  </a:cubicBezTo>
                  <a:cubicBezTo>
                    <a:pt x="459" y="44"/>
                    <a:pt x="469" y="34"/>
                    <a:pt x="469" y="22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cxnSp>
        <p:nvCxnSpPr>
          <p:cNvPr id="80" name="Straight Connector 79"/>
          <p:cNvCxnSpPr/>
          <p:nvPr/>
        </p:nvCxnSpPr>
        <p:spPr>
          <a:xfrm>
            <a:off x="3847772" y="1787973"/>
            <a:ext cx="0" cy="717056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576449" y="2633975"/>
            <a:ext cx="0" cy="28031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H="1">
            <a:off x="5287082" y="2633975"/>
            <a:ext cx="4655" cy="28031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flipH="1">
            <a:off x="6023040" y="2279906"/>
            <a:ext cx="4655" cy="258474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flipH="1">
            <a:off x="6749677" y="1912978"/>
            <a:ext cx="1" cy="12923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3905220" y="3409686"/>
            <a:ext cx="1043383" cy="539181"/>
          </a:xfrm>
          <a:prstGeom prst="line">
            <a:avLst/>
          </a:prstGeom>
          <a:ln w="19050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 flipV="1">
            <a:off x="4961024" y="2620369"/>
            <a:ext cx="2608458" cy="1322940"/>
          </a:xfrm>
          <a:prstGeom prst="line">
            <a:avLst/>
          </a:prstGeom>
          <a:ln w="19050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3847772" y="2892739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4567427" y="3276280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5303385" y="3334646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6016052" y="2930260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6742694" y="2584238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6969491" y="3409426"/>
            <a:ext cx="2827986" cy="3693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bg-BG" sz="12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Национальная система цифровой маркировки Честный ЗНАК</a:t>
            </a:r>
          </a:p>
        </p:txBody>
      </p:sp>
      <p:sp>
        <p:nvSpPr>
          <p:cNvPr id="98" name="Oval 20"/>
          <p:cNvSpPr>
            <a:spLocks noChangeArrowheads="1"/>
          </p:cNvSpPr>
          <p:nvPr/>
        </p:nvSpPr>
        <p:spPr bwMode="auto">
          <a:xfrm>
            <a:off x="5921592" y="1897034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4</a:t>
            </a:r>
          </a:p>
        </p:txBody>
      </p:sp>
      <p:sp>
        <p:nvSpPr>
          <p:cNvPr id="99" name="Oval 20"/>
          <p:cNvSpPr>
            <a:spLocks noChangeArrowheads="1"/>
          </p:cNvSpPr>
          <p:nvPr/>
        </p:nvSpPr>
        <p:spPr bwMode="auto">
          <a:xfrm>
            <a:off x="6657550" y="1538506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5</a:t>
            </a:r>
          </a:p>
        </p:txBody>
      </p:sp>
      <p:sp>
        <p:nvSpPr>
          <p:cNvPr id="100" name="Oval 20"/>
          <p:cNvSpPr>
            <a:spLocks noChangeArrowheads="1"/>
          </p:cNvSpPr>
          <p:nvPr/>
        </p:nvSpPr>
        <p:spPr bwMode="auto">
          <a:xfrm>
            <a:off x="3747378" y="1893324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1</a:t>
            </a:r>
          </a:p>
        </p:txBody>
      </p:sp>
      <p:sp>
        <p:nvSpPr>
          <p:cNvPr id="101" name="Oval 20"/>
          <p:cNvSpPr>
            <a:spLocks noChangeArrowheads="1"/>
          </p:cNvSpPr>
          <p:nvPr/>
        </p:nvSpPr>
        <p:spPr bwMode="auto">
          <a:xfrm>
            <a:off x="4473346" y="2219611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2</a:t>
            </a:r>
          </a:p>
        </p:txBody>
      </p:sp>
      <p:sp>
        <p:nvSpPr>
          <p:cNvPr id="102" name="Oval 20"/>
          <p:cNvSpPr>
            <a:spLocks noChangeArrowheads="1"/>
          </p:cNvSpPr>
          <p:nvPr/>
        </p:nvSpPr>
        <p:spPr bwMode="auto">
          <a:xfrm>
            <a:off x="5200125" y="2234899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3</a:t>
            </a:r>
          </a:p>
        </p:txBody>
      </p:sp>
      <p:grpSp>
        <p:nvGrpSpPr>
          <p:cNvPr id="159" name="bcgIcons_CashRegister">
            <a:extLst>
              <a:ext uri="{FF2B5EF4-FFF2-40B4-BE49-F238E27FC236}">
                <a16:creationId xmlns:a16="http://schemas.microsoft.com/office/drawing/2014/main" id="{1CA5B7BC-38C6-4110-B472-469458A7E4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6476" y="2493355"/>
            <a:ext cx="457200" cy="457623"/>
            <a:chOff x="1682" y="0"/>
            <a:chExt cx="4316" cy="4320"/>
          </a:xfrm>
        </p:grpSpPr>
        <p:sp>
          <p:nvSpPr>
            <p:cNvPr id="160" name="AutoShape 23">
              <a:extLst>
                <a:ext uri="{FF2B5EF4-FFF2-40B4-BE49-F238E27FC236}">
                  <a16:creationId xmlns:a16="http://schemas.microsoft.com/office/drawing/2014/main" id="{B9A507EE-595A-4699-B9C1-2BCC319EBE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61" name="Freeform 25">
              <a:extLst>
                <a:ext uri="{FF2B5EF4-FFF2-40B4-BE49-F238E27FC236}">
                  <a16:creationId xmlns:a16="http://schemas.microsoft.com/office/drawing/2014/main" id="{3EC6DBE2-FD65-4511-A012-BE0A009ED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8" y="844"/>
              <a:ext cx="1926" cy="1665"/>
            </a:xfrm>
            <a:custGeom>
              <a:avLst/>
              <a:gdLst>
                <a:gd name="T0" fmla="*/ 22 w 1028"/>
                <a:gd name="T1" fmla="*/ 518 h 888"/>
                <a:gd name="T2" fmla="*/ 22 w 1028"/>
                <a:gd name="T3" fmla="*/ 474 h 888"/>
                <a:gd name="T4" fmla="*/ 241 w 1028"/>
                <a:gd name="T5" fmla="*/ 496 h 888"/>
                <a:gd name="T6" fmla="*/ 241 w 1028"/>
                <a:gd name="T7" fmla="*/ 400 h 888"/>
                <a:gd name="T8" fmla="*/ 22 w 1028"/>
                <a:gd name="T9" fmla="*/ 378 h 888"/>
                <a:gd name="T10" fmla="*/ 22 w 1028"/>
                <a:gd name="T11" fmla="*/ 422 h 888"/>
                <a:gd name="T12" fmla="*/ 241 w 1028"/>
                <a:gd name="T13" fmla="*/ 400 h 888"/>
                <a:gd name="T14" fmla="*/ 219 w 1028"/>
                <a:gd name="T15" fmla="*/ 281 h 888"/>
                <a:gd name="T16" fmla="*/ 0 w 1028"/>
                <a:gd name="T17" fmla="*/ 303 h 888"/>
                <a:gd name="T18" fmla="*/ 219 w 1028"/>
                <a:gd name="T19" fmla="*/ 325 h 888"/>
                <a:gd name="T20" fmla="*/ 241 w 1028"/>
                <a:gd name="T21" fmla="*/ 207 h 888"/>
                <a:gd name="T22" fmla="*/ 22 w 1028"/>
                <a:gd name="T23" fmla="*/ 185 h 888"/>
                <a:gd name="T24" fmla="*/ 22 w 1028"/>
                <a:gd name="T25" fmla="*/ 229 h 888"/>
                <a:gd name="T26" fmla="*/ 241 w 1028"/>
                <a:gd name="T27" fmla="*/ 207 h 888"/>
                <a:gd name="T28" fmla="*/ 1028 w 1028"/>
                <a:gd name="T29" fmla="*/ 388 h 888"/>
                <a:gd name="T30" fmla="*/ 554 w 1028"/>
                <a:gd name="T31" fmla="*/ 378 h 888"/>
                <a:gd name="T32" fmla="*/ 544 w 1028"/>
                <a:gd name="T33" fmla="*/ 529 h 888"/>
                <a:gd name="T34" fmla="*/ 1018 w 1028"/>
                <a:gd name="T35" fmla="*/ 539 h 888"/>
                <a:gd name="T36" fmla="*/ 1016 w 1028"/>
                <a:gd name="T37" fmla="*/ 136 h 888"/>
                <a:gd name="T38" fmla="*/ 1006 w 1028"/>
                <a:gd name="T39" fmla="*/ 0 h 888"/>
                <a:gd name="T40" fmla="*/ 556 w 1028"/>
                <a:gd name="T41" fmla="*/ 10 h 888"/>
                <a:gd name="T42" fmla="*/ 566 w 1028"/>
                <a:gd name="T43" fmla="*/ 146 h 888"/>
                <a:gd name="T44" fmla="*/ 1016 w 1028"/>
                <a:gd name="T45" fmla="*/ 136 h 888"/>
                <a:gd name="T46" fmla="*/ 676 w 1028"/>
                <a:gd name="T47" fmla="*/ 617 h 888"/>
                <a:gd name="T48" fmla="*/ 594 w 1028"/>
                <a:gd name="T49" fmla="*/ 595 h 888"/>
                <a:gd name="T50" fmla="*/ 572 w 1028"/>
                <a:gd name="T51" fmla="*/ 638 h 888"/>
                <a:gd name="T52" fmla="*/ 654 w 1028"/>
                <a:gd name="T53" fmla="*/ 660 h 888"/>
                <a:gd name="T54" fmla="*/ 843 w 1028"/>
                <a:gd name="T55" fmla="*/ 638 h 888"/>
                <a:gd name="T56" fmla="*/ 821 w 1028"/>
                <a:gd name="T57" fmla="*/ 595 h 888"/>
                <a:gd name="T58" fmla="*/ 738 w 1028"/>
                <a:gd name="T59" fmla="*/ 617 h 888"/>
                <a:gd name="T60" fmla="*/ 760 w 1028"/>
                <a:gd name="T61" fmla="*/ 660 h 888"/>
                <a:gd name="T62" fmla="*/ 843 w 1028"/>
                <a:gd name="T63" fmla="*/ 638 h 888"/>
                <a:gd name="T64" fmla="*/ 676 w 1028"/>
                <a:gd name="T65" fmla="*/ 731 h 888"/>
                <a:gd name="T66" fmla="*/ 594 w 1028"/>
                <a:gd name="T67" fmla="*/ 709 h 888"/>
                <a:gd name="T68" fmla="*/ 572 w 1028"/>
                <a:gd name="T69" fmla="*/ 752 h 888"/>
                <a:gd name="T70" fmla="*/ 654 w 1028"/>
                <a:gd name="T71" fmla="*/ 774 h 888"/>
                <a:gd name="T72" fmla="*/ 843 w 1028"/>
                <a:gd name="T73" fmla="*/ 752 h 888"/>
                <a:gd name="T74" fmla="*/ 821 w 1028"/>
                <a:gd name="T75" fmla="*/ 709 h 888"/>
                <a:gd name="T76" fmla="*/ 738 w 1028"/>
                <a:gd name="T77" fmla="*/ 731 h 888"/>
                <a:gd name="T78" fmla="*/ 760 w 1028"/>
                <a:gd name="T79" fmla="*/ 774 h 888"/>
                <a:gd name="T80" fmla="*/ 843 w 1028"/>
                <a:gd name="T81" fmla="*/ 752 h 888"/>
                <a:gd name="T82" fmla="*/ 676 w 1028"/>
                <a:gd name="T83" fmla="*/ 845 h 888"/>
                <a:gd name="T84" fmla="*/ 594 w 1028"/>
                <a:gd name="T85" fmla="*/ 823 h 888"/>
                <a:gd name="T86" fmla="*/ 572 w 1028"/>
                <a:gd name="T87" fmla="*/ 866 h 888"/>
                <a:gd name="T88" fmla="*/ 654 w 1028"/>
                <a:gd name="T89" fmla="*/ 888 h 888"/>
                <a:gd name="T90" fmla="*/ 843 w 1028"/>
                <a:gd name="T91" fmla="*/ 866 h 888"/>
                <a:gd name="T92" fmla="*/ 821 w 1028"/>
                <a:gd name="T93" fmla="*/ 823 h 888"/>
                <a:gd name="T94" fmla="*/ 738 w 1028"/>
                <a:gd name="T95" fmla="*/ 845 h 888"/>
                <a:gd name="T96" fmla="*/ 760 w 1028"/>
                <a:gd name="T97" fmla="*/ 888 h 888"/>
                <a:gd name="T98" fmla="*/ 843 w 1028"/>
                <a:gd name="T99" fmla="*/ 866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28" h="888">
                  <a:moveTo>
                    <a:pt x="219" y="518"/>
                  </a:moveTo>
                  <a:cubicBezTo>
                    <a:pt x="22" y="518"/>
                    <a:pt x="22" y="518"/>
                    <a:pt x="22" y="518"/>
                  </a:cubicBezTo>
                  <a:cubicBezTo>
                    <a:pt x="10" y="518"/>
                    <a:pt x="0" y="508"/>
                    <a:pt x="0" y="496"/>
                  </a:cubicBezTo>
                  <a:cubicBezTo>
                    <a:pt x="0" y="484"/>
                    <a:pt x="10" y="474"/>
                    <a:pt x="22" y="474"/>
                  </a:cubicBezTo>
                  <a:cubicBezTo>
                    <a:pt x="219" y="474"/>
                    <a:pt x="219" y="474"/>
                    <a:pt x="219" y="474"/>
                  </a:cubicBezTo>
                  <a:cubicBezTo>
                    <a:pt x="231" y="474"/>
                    <a:pt x="241" y="484"/>
                    <a:pt x="241" y="496"/>
                  </a:cubicBezTo>
                  <a:cubicBezTo>
                    <a:pt x="241" y="508"/>
                    <a:pt x="231" y="518"/>
                    <a:pt x="219" y="518"/>
                  </a:cubicBezTo>
                  <a:close/>
                  <a:moveTo>
                    <a:pt x="241" y="400"/>
                  </a:moveTo>
                  <a:cubicBezTo>
                    <a:pt x="241" y="388"/>
                    <a:pt x="231" y="378"/>
                    <a:pt x="219" y="378"/>
                  </a:cubicBezTo>
                  <a:cubicBezTo>
                    <a:pt x="22" y="378"/>
                    <a:pt x="22" y="378"/>
                    <a:pt x="22" y="378"/>
                  </a:cubicBezTo>
                  <a:cubicBezTo>
                    <a:pt x="10" y="378"/>
                    <a:pt x="0" y="388"/>
                    <a:pt x="0" y="400"/>
                  </a:cubicBezTo>
                  <a:cubicBezTo>
                    <a:pt x="0" y="412"/>
                    <a:pt x="10" y="422"/>
                    <a:pt x="22" y="422"/>
                  </a:cubicBezTo>
                  <a:cubicBezTo>
                    <a:pt x="219" y="422"/>
                    <a:pt x="219" y="422"/>
                    <a:pt x="219" y="422"/>
                  </a:cubicBezTo>
                  <a:cubicBezTo>
                    <a:pt x="231" y="422"/>
                    <a:pt x="241" y="412"/>
                    <a:pt x="241" y="400"/>
                  </a:cubicBezTo>
                  <a:close/>
                  <a:moveTo>
                    <a:pt x="241" y="303"/>
                  </a:moveTo>
                  <a:cubicBezTo>
                    <a:pt x="241" y="291"/>
                    <a:pt x="231" y="281"/>
                    <a:pt x="219" y="281"/>
                  </a:cubicBezTo>
                  <a:cubicBezTo>
                    <a:pt x="22" y="281"/>
                    <a:pt x="22" y="281"/>
                    <a:pt x="22" y="281"/>
                  </a:cubicBezTo>
                  <a:cubicBezTo>
                    <a:pt x="10" y="281"/>
                    <a:pt x="0" y="291"/>
                    <a:pt x="0" y="303"/>
                  </a:cubicBezTo>
                  <a:cubicBezTo>
                    <a:pt x="0" y="316"/>
                    <a:pt x="10" y="325"/>
                    <a:pt x="22" y="325"/>
                  </a:cubicBezTo>
                  <a:cubicBezTo>
                    <a:pt x="219" y="325"/>
                    <a:pt x="219" y="325"/>
                    <a:pt x="219" y="325"/>
                  </a:cubicBezTo>
                  <a:cubicBezTo>
                    <a:pt x="231" y="325"/>
                    <a:pt x="241" y="316"/>
                    <a:pt x="241" y="303"/>
                  </a:cubicBezTo>
                  <a:close/>
                  <a:moveTo>
                    <a:pt x="241" y="207"/>
                  </a:moveTo>
                  <a:cubicBezTo>
                    <a:pt x="241" y="195"/>
                    <a:pt x="231" y="185"/>
                    <a:pt x="219" y="185"/>
                  </a:cubicBezTo>
                  <a:cubicBezTo>
                    <a:pt x="22" y="185"/>
                    <a:pt x="22" y="185"/>
                    <a:pt x="22" y="185"/>
                  </a:cubicBezTo>
                  <a:cubicBezTo>
                    <a:pt x="10" y="185"/>
                    <a:pt x="0" y="195"/>
                    <a:pt x="0" y="207"/>
                  </a:cubicBezTo>
                  <a:cubicBezTo>
                    <a:pt x="0" y="219"/>
                    <a:pt x="10" y="229"/>
                    <a:pt x="22" y="229"/>
                  </a:cubicBezTo>
                  <a:cubicBezTo>
                    <a:pt x="219" y="229"/>
                    <a:pt x="219" y="229"/>
                    <a:pt x="219" y="229"/>
                  </a:cubicBezTo>
                  <a:cubicBezTo>
                    <a:pt x="231" y="229"/>
                    <a:pt x="241" y="219"/>
                    <a:pt x="241" y="207"/>
                  </a:cubicBezTo>
                  <a:close/>
                  <a:moveTo>
                    <a:pt x="1028" y="529"/>
                  </a:moveTo>
                  <a:cubicBezTo>
                    <a:pt x="1028" y="388"/>
                    <a:pt x="1028" y="388"/>
                    <a:pt x="1028" y="388"/>
                  </a:cubicBezTo>
                  <a:cubicBezTo>
                    <a:pt x="1028" y="382"/>
                    <a:pt x="1023" y="378"/>
                    <a:pt x="1018" y="378"/>
                  </a:cubicBezTo>
                  <a:cubicBezTo>
                    <a:pt x="554" y="378"/>
                    <a:pt x="554" y="378"/>
                    <a:pt x="554" y="378"/>
                  </a:cubicBezTo>
                  <a:cubicBezTo>
                    <a:pt x="549" y="378"/>
                    <a:pt x="544" y="382"/>
                    <a:pt x="544" y="388"/>
                  </a:cubicBezTo>
                  <a:cubicBezTo>
                    <a:pt x="544" y="529"/>
                    <a:pt x="544" y="529"/>
                    <a:pt x="544" y="529"/>
                  </a:cubicBezTo>
                  <a:cubicBezTo>
                    <a:pt x="544" y="535"/>
                    <a:pt x="549" y="539"/>
                    <a:pt x="554" y="539"/>
                  </a:cubicBezTo>
                  <a:cubicBezTo>
                    <a:pt x="1018" y="539"/>
                    <a:pt x="1018" y="539"/>
                    <a:pt x="1018" y="539"/>
                  </a:cubicBezTo>
                  <a:cubicBezTo>
                    <a:pt x="1023" y="539"/>
                    <a:pt x="1028" y="535"/>
                    <a:pt x="1028" y="529"/>
                  </a:cubicBezTo>
                  <a:close/>
                  <a:moveTo>
                    <a:pt x="1016" y="136"/>
                  </a:moveTo>
                  <a:cubicBezTo>
                    <a:pt x="1016" y="10"/>
                    <a:pt x="1016" y="10"/>
                    <a:pt x="1016" y="10"/>
                  </a:cubicBezTo>
                  <a:cubicBezTo>
                    <a:pt x="1016" y="4"/>
                    <a:pt x="1012" y="0"/>
                    <a:pt x="1006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60" y="0"/>
                    <a:pt x="556" y="4"/>
                    <a:pt x="556" y="10"/>
                  </a:cubicBezTo>
                  <a:cubicBezTo>
                    <a:pt x="556" y="136"/>
                    <a:pt x="556" y="136"/>
                    <a:pt x="556" y="136"/>
                  </a:cubicBezTo>
                  <a:cubicBezTo>
                    <a:pt x="556" y="142"/>
                    <a:pt x="560" y="146"/>
                    <a:pt x="566" y="146"/>
                  </a:cubicBezTo>
                  <a:cubicBezTo>
                    <a:pt x="1006" y="146"/>
                    <a:pt x="1006" y="146"/>
                    <a:pt x="1006" y="146"/>
                  </a:cubicBezTo>
                  <a:cubicBezTo>
                    <a:pt x="1012" y="146"/>
                    <a:pt x="1016" y="142"/>
                    <a:pt x="1016" y="136"/>
                  </a:cubicBezTo>
                  <a:close/>
                  <a:moveTo>
                    <a:pt x="676" y="638"/>
                  </a:moveTo>
                  <a:cubicBezTo>
                    <a:pt x="676" y="617"/>
                    <a:pt x="676" y="617"/>
                    <a:pt x="676" y="617"/>
                  </a:cubicBezTo>
                  <a:cubicBezTo>
                    <a:pt x="676" y="605"/>
                    <a:pt x="666" y="595"/>
                    <a:pt x="654" y="595"/>
                  </a:cubicBezTo>
                  <a:cubicBezTo>
                    <a:pt x="594" y="595"/>
                    <a:pt x="594" y="595"/>
                    <a:pt x="594" y="595"/>
                  </a:cubicBezTo>
                  <a:cubicBezTo>
                    <a:pt x="582" y="595"/>
                    <a:pt x="572" y="605"/>
                    <a:pt x="572" y="617"/>
                  </a:cubicBezTo>
                  <a:cubicBezTo>
                    <a:pt x="572" y="638"/>
                    <a:pt x="572" y="638"/>
                    <a:pt x="572" y="638"/>
                  </a:cubicBezTo>
                  <a:cubicBezTo>
                    <a:pt x="572" y="650"/>
                    <a:pt x="582" y="660"/>
                    <a:pt x="594" y="660"/>
                  </a:cubicBezTo>
                  <a:cubicBezTo>
                    <a:pt x="654" y="660"/>
                    <a:pt x="654" y="660"/>
                    <a:pt x="654" y="660"/>
                  </a:cubicBezTo>
                  <a:cubicBezTo>
                    <a:pt x="666" y="660"/>
                    <a:pt x="676" y="650"/>
                    <a:pt x="676" y="638"/>
                  </a:cubicBezTo>
                  <a:close/>
                  <a:moveTo>
                    <a:pt x="843" y="638"/>
                  </a:moveTo>
                  <a:cubicBezTo>
                    <a:pt x="843" y="617"/>
                    <a:pt x="843" y="617"/>
                    <a:pt x="843" y="617"/>
                  </a:cubicBezTo>
                  <a:cubicBezTo>
                    <a:pt x="843" y="605"/>
                    <a:pt x="833" y="595"/>
                    <a:pt x="821" y="595"/>
                  </a:cubicBezTo>
                  <a:cubicBezTo>
                    <a:pt x="760" y="595"/>
                    <a:pt x="760" y="595"/>
                    <a:pt x="760" y="595"/>
                  </a:cubicBezTo>
                  <a:cubicBezTo>
                    <a:pt x="748" y="595"/>
                    <a:pt x="738" y="605"/>
                    <a:pt x="738" y="617"/>
                  </a:cubicBezTo>
                  <a:cubicBezTo>
                    <a:pt x="738" y="638"/>
                    <a:pt x="738" y="638"/>
                    <a:pt x="738" y="638"/>
                  </a:cubicBezTo>
                  <a:cubicBezTo>
                    <a:pt x="738" y="650"/>
                    <a:pt x="748" y="660"/>
                    <a:pt x="760" y="660"/>
                  </a:cubicBezTo>
                  <a:cubicBezTo>
                    <a:pt x="821" y="660"/>
                    <a:pt x="821" y="660"/>
                    <a:pt x="821" y="660"/>
                  </a:cubicBezTo>
                  <a:cubicBezTo>
                    <a:pt x="833" y="660"/>
                    <a:pt x="843" y="650"/>
                    <a:pt x="843" y="638"/>
                  </a:cubicBezTo>
                  <a:close/>
                  <a:moveTo>
                    <a:pt x="676" y="752"/>
                  </a:moveTo>
                  <a:cubicBezTo>
                    <a:pt x="676" y="731"/>
                    <a:pt x="676" y="731"/>
                    <a:pt x="676" y="731"/>
                  </a:cubicBezTo>
                  <a:cubicBezTo>
                    <a:pt x="676" y="719"/>
                    <a:pt x="666" y="709"/>
                    <a:pt x="654" y="709"/>
                  </a:cubicBezTo>
                  <a:cubicBezTo>
                    <a:pt x="594" y="709"/>
                    <a:pt x="594" y="709"/>
                    <a:pt x="594" y="709"/>
                  </a:cubicBezTo>
                  <a:cubicBezTo>
                    <a:pt x="582" y="709"/>
                    <a:pt x="572" y="719"/>
                    <a:pt x="572" y="731"/>
                  </a:cubicBezTo>
                  <a:cubicBezTo>
                    <a:pt x="572" y="752"/>
                    <a:pt x="572" y="752"/>
                    <a:pt x="572" y="752"/>
                  </a:cubicBezTo>
                  <a:cubicBezTo>
                    <a:pt x="572" y="764"/>
                    <a:pt x="582" y="774"/>
                    <a:pt x="594" y="774"/>
                  </a:cubicBezTo>
                  <a:cubicBezTo>
                    <a:pt x="654" y="774"/>
                    <a:pt x="654" y="774"/>
                    <a:pt x="654" y="774"/>
                  </a:cubicBezTo>
                  <a:cubicBezTo>
                    <a:pt x="666" y="774"/>
                    <a:pt x="676" y="764"/>
                    <a:pt x="676" y="752"/>
                  </a:cubicBezTo>
                  <a:close/>
                  <a:moveTo>
                    <a:pt x="843" y="752"/>
                  </a:moveTo>
                  <a:cubicBezTo>
                    <a:pt x="843" y="731"/>
                    <a:pt x="843" y="731"/>
                    <a:pt x="843" y="731"/>
                  </a:cubicBezTo>
                  <a:cubicBezTo>
                    <a:pt x="843" y="719"/>
                    <a:pt x="833" y="709"/>
                    <a:pt x="821" y="709"/>
                  </a:cubicBezTo>
                  <a:cubicBezTo>
                    <a:pt x="760" y="709"/>
                    <a:pt x="760" y="709"/>
                    <a:pt x="760" y="709"/>
                  </a:cubicBezTo>
                  <a:cubicBezTo>
                    <a:pt x="748" y="709"/>
                    <a:pt x="738" y="719"/>
                    <a:pt x="738" y="731"/>
                  </a:cubicBezTo>
                  <a:cubicBezTo>
                    <a:pt x="738" y="752"/>
                    <a:pt x="738" y="752"/>
                    <a:pt x="738" y="752"/>
                  </a:cubicBezTo>
                  <a:cubicBezTo>
                    <a:pt x="738" y="764"/>
                    <a:pt x="748" y="774"/>
                    <a:pt x="760" y="774"/>
                  </a:cubicBezTo>
                  <a:cubicBezTo>
                    <a:pt x="821" y="774"/>
                    <a:pt x="821" y="774"/>
                    <a:pt x="821" y="774"/>
                  </a:cubicBezTo>
                  <a:cubicBezTo>
                    <a:pt x="833" y="774"/>
                    <a:pt x="843" y="764"/>
                    <a:pt x="843" y="752"/>
                  </a:cubicBezTo>
                  <a:close/>
                  <a:moveTo>
                    <a:pt x="676" y="866"/>
                  </a:moveTo>
                  <a:cubicBezTo>
                    <a:pt x="676" y="845"/>
                    <a:pt x="676" y="845"/>
                    <a:pt x="676" y="845"/>
                  </a:cubicBezTo>
                  <a:cubicBezTo>
                    <a:pt x="676" y="833"/>
                    <a:pt x="666" y="823"/>
                    <a:pt x="654" y="823"/>
                  </a:cubicBezTo>
                  <a:cubicBezTo>
                    <a:pt x="594" y="823"/>
                    <a:pt x="594" y="823"/>
                    <a:pt x="594" y="823"/>
                  </a:cubicBezTo>
                  <a:cubicBezTo>
                    <a:pt x="582" y="823"/>
                    <a:pt x="572" y="833"/>
                    <a:pt x="572" y="845"/>
                  </a:cubicBezTo>
                  <a:cubicBezTo>
                    <a:pt x="572" y="866"/>
                    <a:pt x="572" y="866"/>
                    <a:pt x="572" y="866"/>
                  </a:cubicBezTo>
                  <a:cubicBezTo>
                    <a:pt x="572" y="878"/>
                    <a:pt x="582" y="888"/>
                    <a:pt x="594" y="888"/>
                  </a:cubicBezTo>
                  <a:cubicBezTo>
                    <a:pt x="654" y="888"/>
                    <a:pt x="654" y="888"/>
                    <a:pt x="654" y="888"/>
                  </a:cubicBezTo>
                  <a:cubicBezTo>
                    <a:pt x="666" y="888"/>
                    <a:pt x="676" y="878"/>
                    <a:pt x="676" y="866"/>
                  </a:cubicBezTo>
                  <a:close/>
                  <a:moveTo>
                    <a:pt x="843" y="866"/>
                  </a:moveTo>
                  <a:cubicBezTo>
                    <a:pt x="843" y="845"/>
                    <a:pt x="843" y="845"/>
                    <a:pt x="843" y="845"/>
                  </a:cubicBezTo>
                  <a:cubicBezTo>
                    <a:pt x="843" y="833"/>
                    <a:pt x="833" y="823"/>
                    <a:pt x="821" y="823"/>
                  </a:cubicBezTo>
                  <a:cubicBezTo>
                    <a:pt x="760" y="823"/>
                    <a:pt x="760" y="823"/>
                    <a:pt x="760" y="823"/>
                  </a:cubicBezTo>
                  <a:cubicBezTo>
                    <a:pt x="748" y="823"/>
                    <a:pt x="738" y="833"/>
                    <a:pt x="738" y="845"/>
                  </a:cubicBezTo>
                  <a:cubicBezTo>
                    <a:pt x="738" y="866"/>
                    <a:pt x="738" y="866"/>
                    <a:pt x="738" y="866"/>
                  </a:cubicBezTo>
                  <a:cubicBezTo>
                    <a:pt x="738" y="878"/>
                    <a:pt x="748" y="888"/>
                    <a:pt x="760" y="888"/>
                  </a:cubicBezTo>
                  <a:cubicBezTo>
                    <a:pt x="821" y="888"/>
                    <a:pt x="821" y="888"/>
                    <a:pt x="821" y="888"/>
                  </a:cubicBezTo>
                  <a:cubicBezTo>
                    <a:pt x="833" y="888"/>
                    <a:pt x="843" y="878"/>
                    <a:pt x="843" y="866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62" name="Freeform 26">
              <a:extLst>
                <a:ext uri="{FF2B5EF4-FFF2-40B4-BE49-F238E27FC236}">
                  <a16:creationId xmlns:a16="http://schemas.microsoft.com/office/drawing/2014/main" id="{BB833497-D78A-4A47-B740-DCACD718D5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8" y="711"/>
              <a:ext cx="3380" cy="2885"/>
            </a:xfrm>
            <a:custGeom>
              <a:avLst/>
              <a:gdLst>
                <a:gd name="T0" fmla="*/ 23 w 1804"/>
                <a:gd name="T1" fmla="*/ 1178 h 1539"/>
                <a:gd name="T2" fmla="*/ 1 w 1804"/>
                <a:gd name="T3" fmla="*/ 1517 h 1539"/>
                <a:gd name="T4" fmla="*/ 1781 w 1804"/>
                <a:gd name="T5" fmla="*/ 1539 h 1539"/>
                <a:gd name="T6" fmla="*/ 1803 w 1804"/>
                <a:gd name="T7" fmla="*/ 1200 h 1539"/>
                <a:gd name="T8" fmla="*/ 902 w 1804"/>
                <a:gd name="T9" fmla="*/ 1413 h 1539"/>
                <a:gd name="T10" fmla="*/ 902 w 1804"/>
                <a:gd name="T11" fmla="*/ 1303 h 1539"/>
                <a:gd name="T12" fmla="*/ 902 w 1804"/>
                <a:gd name="T13" fmla="*/ 1413 h 1539"/>
                <a:gd name="T14" fmla="*/ 1684 w 1804"/>
                <a:gd name="T15" fmla="*/ 605 h 1539"/>
                <a:gd name="T16" fmla="*/ 1662 w 1804"/>
                <a:gd name="T17" fmla="*/ 319 h 1539"/>
                <a:gd name="T18" fmla="*/ 1355 w 1804"/>
                <a:gd name="T19" fmla="*/ 288 h 1539"/>
                <a:gd name="T20" fmla="*/ 1547 w 1804"/>
                <a:gd name="T21" fmla="*/ 266 h 1539"/>
                <a:gd name="T22" fmla="*/ 1525 w 1804"/>
                <a:gd name="T23" fmla="*/ 0 h 1539"/>
                <a:gd name="T24" fmla="*/ 943 w 1804"/>
                <a:gd name="T25" fmla="*/ 22 h 1539"/>
                <a:gd name="T26" fmla="*/ 965 w 1804"/>
                <a:gd name="T27" fmla="*/ 288 h 1539"/>
                <a:gd name="T28" fmla="*/ 1135 w 1804"/>
                <a:gd name="T29" fmla="*/ 319 h 1539"/>
                <a:gd name="T30" fmla="*/ 828 w 1804"/>
                <a:gd name="T31" fmla="*/ 363 h 1539"/>
                <a:gd name="T32" fmla="*/ 1640 w 1804"/>
                <a:gd name="T33" fmla="*/ 608 h 1539"/>
                <a:gd name="T34" fmla="*/ 1760 w 1804"/>
                <a:gd name="T35" fmla="*/ 979 h 1539"/>
                <a:gd name="T36" fmla="*/ 44 w 1804"/>
                <a:gd name="T37" fmla="*/ 1103 h 1539"/>
                <a:gd name="T38" fmla="*/ 163 w 1804"/>
                <a:gd name="T39" fmla="*/ 615 h 1539"/>
                <a:gd name="T40" fmla="*/ 164 w 1804"/>
                <a:gd name="T41" fmla="*/ 363 h 1539"/>
                <a:gd name="T42" fmla="*/ 331 w 1804"/>
                <a:gd name="T43" fmla="*/ 319 h 1539"/>
                <a:gd name="T44" fmla="*/ 120 w 1804"/>
                <a:gd name="T45" fmla="*/ 341 h 1539"/>
                <a:gd name="T46" fmla="*/ 1 w 1804"/>
                <a:gd name="T47" fmla="*/ 969 h 1539"/>
                <a:gd name="T48" fmla="*/ 0 w 1804"/>
                <a:gd name="T49" fmla="*/ 1125 h 1539"/>
                <a:gd name="T50" fmla="*/ 1782 w 1804"/>
                <a:gd name="T51" fmla="*/ 1147 h 1539"/>
                <a:gd name="T52" fmla="*/ 1804 w 1804"/>
                <a:gd name="T53" fmla="*/ 976 h 1539"/>
                <a:gd name="T54" fmla="*/ 987 w 1804"/>
                <a:gd name="T55" fmla="*/ 44 h 1539"/>
                <a:gd name="T56" fmla="*/ 1503 w 1804"/>
                <a:gd name="T57" fmla="*/ 244 h 1539"/>
                <a:gd name="T58" fmla="*/ 987 w 1804"/>
                <a:gd name="T59" fmla="*/ 44 h 1539"/>
                <a:gd name="T60" fmla="*/ 828 w 1804"/>
                <a:gd name="T61" fmla="*/ 649 h 1539"/>
                <a:gd name="T62" fmla="*/ 820 w 1804"/>
                <a:gd name="T63" fmla="*/ 679 h 1539"/>
                <a:gd name="T64" fmla="*/ 784 w 1804"/>
                <a:gd name="T65" fmla="*/ 144 h 1539"/>
                <a:gd name="T66" fmla="*/ 397 w 1804"/>
                <a:gd name="T67" fmla="*/ 122 h 1539"/>
                <a:gd name="T68" fmla="*/ 375 w 1804"/>
                <a:gd name="T69" fmla="*/ 679 h 1539"/>
                <a:gd name="T70" fmla="*/ 323 w 1804"/>
                <a:gd name="T71" fmla="*/ 663 h 1539"/>
                <a:gd name="T72" fmla="*/ 331 w 1804"/>
                <a:gd name="T73" fmla="*/ 604 h 1539"/>
                <a:gd name="T74" fmla="*/ 339 w 1804"/>
                <a:gd name="T75" fmla="*/ 723 h 1539"/>
                <a:gd name="T76" fmla="*/ 762 w 1804"/>
                <a:gd name="T77" fmla="*/ 723 h 1539"/>
                <a:gd name="T78" fmla="*/ 880 w 1804"/>
                <a:gd name="T79" fmla="*/ 663 h 1539"/>
                <a:gd name="T80" fmla="*/ 740 w 1804"/>
                <a:gd name="T81" fmla="*/ 679 h 1539"/>
                <a:gd name="T82" fmla="*/ 419 w 1804"/>
                <a:gd name="T83" fmla="*/ 166 h 1539"/>
                <a:gd name="T84" fmla="*/ 740 w 1804"/>
                <a:gd name="T85" fmla="*/ 679 h 1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4" h="1539">
                  <a:moveTo>
                    <a:pt x="1781" y="1178"/>
                  </a:moveTo>
                  <a:cubicBezTo>
                    <a:pt x="23" y="1178"/>
                    <a:pt x="23" y="1178"/>
                    <a:pt x="23" y="1178"/>
                  </a:cubicBezTo>
                  <a:cubicBezTo>
                    <a:pt x="11" y="1178"/>
                    <a:pt x="1" y="1188"/>
                    <a:pt x="1" y="1200"/>
                  </a:cubicBezTo>
                  <a:cubicBezTo>
                    <a:pt x="1" y="1517"/>
                    <a:pt x="1" y="1517"/>
                    <a:pt x="1" y="1517"/>
                  </a:cubicBezTo>
                  <a:cubicBezTo>
                    <a:pt x="1" y="1529"/>
                    <a:pt x="11" y="1539"/>
                    <a:pt x="23" y="1539"/>
                  </a:cubicBezTo>
                  <a:cubicBezTo>
                    <a:pt x="1781" y="1539"/>
                    <a:pt x="1781" y="1539"/>
                    <a:pt x="1781" y="1539"/>
                  </a:cubicBezTo>
                  <a:cubicBezTo>
                    <a:pt x="1793" y="1539"/>
                    <a:pt x="1803" y="1529"/>
                    <a:pt x="1803" y="1517"/>
                  </a:cubicBezTo>
                  <a:cubicBezTo>
                    <a:pt x="1803" y="1200"/>
                    <a:pt x="1803" y="1200"/>
                    <a:pt x="1803" y="1200"/>
                  </a:cubicBezTo>
                  <a:cubicBezTo>
                    <a:pt x="1803" y="1188"/>
                    <a:pt x="1793" y="1178"/>
                    <a:pt x="1781" y="1178"/>
                  </a:cubicBezTo>
                  <a:close/>
                  <a:moveTo>
                    <a:pt x="902" y="1413"/>
                  </a:moveTo>
                  <a:cubicBezTo>
                    <a:pt x="872" y="1413"/>
                    <a:pt x="847" y="1389"/>
                    <a:pt x="847" y="1358"/>
                  </a:cubicBezTo>
                  <a:cubicBezTo>
                    <a:pt x="847" y="1328"/>
                    <a:pt x="872" y="1303"/>
                    <a:pt x="902" y="1303"/>
                  </a:cubicBezTo>
                  <a:cubicBezTo>
                    <a:pt x="932" y="1303"/>
                    <a:pt x="957" y="1328"/>
                    <a:pt x="957" y="1358"/>
                  </a:cubicBezTo>
                  <a:cubicBezTo>
                    <a:pt x="957" y="1389"/>
                    <a:pt x="932" y="1413"/>
                    <a:pt x="902" y="1413"/>
                  </a:cubicBezTo>
                  <a:close/>
                  <a:moveTo>
                    <a:pt x="1803" y="969"/>
                  </a:moveTo>
                  <a:cubicBezTo>
                    <a:pt x="1684" y="605"/>
                    <a:pt x="1684" y="605"/>
                    <a:pt x="1684" y="605"/>
                  </a:cubicBezTo>
                  <a:cubicBezTo>
                    <a:pt x="1684" y="341"/>
                    <a:pt x="1684" y="341"/>
                    <a:pt x="1684" y="341"/>
                  </a:cubicBezTo>
                  <a:cubicBezTo>
                    <a:pt x="1684" y="329"/>
                    <a:pt x="1674" y="319"/>
                    <a:pt x="1662" y="319"/>
                  </a:cubicBezTo>
                  <a:cubicBezTo>
                    <a:pt x="1355" y="319"/>
                    <a:pt x="1355" y="319"/>
                    <a:pt x="1355" y="319"/>
                  </a:cubicBezTo>
                  <a:cubicBezTo>
                    <a:pt x="1355" y="288"/>
                    <a:pt x="1355" y="288"/>
                    <a:pt x="1355" y="288"/>
                  </a:cubicBezTo>
                  <a:cubicBezTo>
                    <a:pt x="1525" y="288"/>
                    <a:pt x="1525" y="288"/>
                    <a:pt x="1525" y="288"/>
                  </a:cubicBezTo>
                  <a:cubicBezTo>
                    <a:pt x="1537" y="288"/>
                    <a:pt x="1547" y="278"/>
                    <a:pt x="1547" y="266"/>
                  </a:cubicBezTo>
                  <a:cubicBezTo>
                    <a:pt x="1547" y="22"/>
                    <a:pt x="1547" y="22"/>
                    <a:pt x="1547" y="22"/>
                  </a:cubicBezTo>
                  <a:cubicBezTo>
                    <a:pt x="1547" y="10"/>
                    <a:pt x="1537" y="0"/>
                    <a:pt x="1525" y="0"/>
                  </a:cubicBezTo>
                  <a:cubicBezTo>
                    <a:pt x="965" y="0"/>
                    <a:pt x="965" y="0"/>
                    <a:pt x="965" y="0"/>
                  </a:cubicBezTo>
                  <a:cubicBezTo>
                    <a:pt x="953" y="0"/>
                    <a:pt x="943" y="10"/>
                    <a:pt x="943" y="22"/>
                  </a:cubicBezTo>
                  <a:cubicBezTo>
                    <a:pt x="943" y="266"/>
                    <a:pt x="943" y="266"/>
                    <a:pt x="943" y="266"/>
                  </a:cubicBezTo>
                  <a:cubicBezTo>
                    <a:pt x="943" y="278"/>
                    <a:pt x="953" y="288"/>
                    <a:pt x="965" y="288"/>
                  </a:cubicBezTo>
                  <a:cubicBezTo>
                    <a:pt x="1135" y="288"/>
                    <a:pt x="1135" y="288"/>
                    <a:pt x="1135" y="288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828" y="319"/>
                    <a:pt x="828" y="319"/>
                    <a:pt x="828" y="319"/>
                  </a:cubicBezTo>
                  <a:cubicBezTo>
                    <a:pt x="828" y="363"/>
                    <a:pt x="828" y="363"/>
                    <a:pt x="828" y="363"/>
                  </a:cubicBezTo>
                  <a:cubicBezTo>
                    <a:pt x="1640" y="363"/>
                    <a:pt x="1640" y="363"/>
                    <a:pt x="1640" y="363"/>
                  </a:cubicBezTo>
                  <a:cubicBezTo>
                    <a:pt x="1640" y="608"/>
                    <a:pt x="1640" y="608"/>
                    <a:pt x="1640" y="608"/>
                  </a:cubicBezTo>
                  <a:cubicBezTo>
                    <a:pt x="1640" y="610"/>
                    <a:pt x="1640" y="613"/>
                    <a:pt x="1641" y="615"/>
                  </a:cubicBezTo>
                  <a:cubicBezTo>
                    <a:pt x="1760" y="979"/>
                    <a:pt x="1760" y="979"/>
                    <a:pt x="1760" y="979"/>
                  </a:cubicBezTo>
                  <a:cubicBezTo>
                    <a:pt x="1760" y="1103"/>
                    <a:pt x="1760" y="1103"/>
                    <a:pt x="1760" y="1103"/>
                  </a:cubicBezTo>
                  <a:cubicBezTo>
                    <a:pt x="44" y="1103"/>
                    <a:pt x="44" y="1103"/>
                    <a:pt x="44" y="1103"/>
                  </a:cubicBezTo>
                  <a:cubicBezTo>
                    <a:pt x="44" y="979"/>
                    <a:pt x="44" y="979"/>
                    <a:pt x="44" y="979"/>
                  </a:cubicBezTo>
                  <a:cubicBezTo>
                    <a:pt x="163" y="615"/>
                    <a:pt x="163" y="615"/>
                    <a:pt x="163" y="615"/>
                  </a:cubicBezTo>
                  <a:cubicBezTo>
                    <a:pt x="164" y="613"/>
                    <a:pt x="164" y="610"/>
                    <a:pt x="164" y="608"/>
                  </a:cubicBezTo>
                  <a:cubicBezTo>
                    <a:pt x="164" y="363"/>
                    <a:pt x="164" y="363"/>
                    <a:pt x="164" y="363"/>
                  </a:cubicBezTo>
                  <a:cubicBezTo>
                    <a:pt x="331" y="363"/>
                    <a:pt x="331" y="363"/>
                    <a:pt x="331" y="363"/>
                  </a:cubicBezTo>
                  <a:cubicBezTo>
                    <a:pt x="331" y="319"/>
                    <a:pt x="331" y="319"/>
                    <a:pt x="331" y="319"/>
                  </a:cubicBezTo>
                  <a:cubicBezTo>
                    <a:pt x="142" y="319"/>
                    <a:pt x="142" y="319"/>
                    <a:pt x="142" y="319"/>
                  </a:cubicBezTo>
                  <a:cubicBezTo>
                    <a:pt x="130" y="319"/>
                    <a:pt x="120" y="329"/>
                    <a:pt x="120" y="341"/>
                  </a:cubicBezTo>
                  <a:cubicBezTo>
                    <a:pt x="120" y="605"/>
                    <a:pt x="120" y="605"/>
                    <a:pt x="120" y="605"/>
                  </a:cubicBezTo>
                  <a:cubicBezTo>
                    <a:pt x="1" y="969"/>
                    <a:pt x="1" y="969"/>
                    <a:pt x="1" y="969"/>
                  </a:cubicBezTo>
                  <a:cubicBezTo>
                    <a:pt x="0" y="971"/>
                    <a:pt x="0" y="974"/>
                    <a:pt x="0" y="976"/>
                  </a:cubicBezTo>
                  <a:cubicBezTo>
                    <a:pt x="0" y="1125"/>
                    <a:pt x="0" y="1125"/>
                    <a:pt x="0" y="1125"/>
                  </a:cubicBezTo>
                  <a:cubicBezTo>
                    <a:pt x="0" y="1137"/>
                    <a:pt x="10" y="1147"/>
                    <a:pt x="22" y="1147"/>
                  </a:cubicBezTo>
                  <a:cubicBezTo>
                    <a:pt x="1782" y="1147"/>
                    <a:pt x="1782" y="1147"/>
                    <a:pt x="1782" y="1147"/>
                  </a:cubicBezTo>
                  <a:cubicBezTo>
                    <a:pt x="1794" y="1147"/>
                    <a:pt x="1804" y="1137"/>
                    <a:pt x="1804" y="1125"/>
                  </a:cubicBezTo>
                  <a:cubicBezTo>
                    <a:pt x="1804" y="976"/>
                    <a:pt x="1804" y="976"/>
                    <a:pt x="1804" y="976"/>
                  </a:cubicBezTo>
                  <a:cubicBezTo>
                    <a:pt x="1804" y="974"/>
                    <a:pt x="1804" y="971"/>
                    <a:pt x="1803" y="969"/>
                  </a:cubicBezTo>
                  <a:close/>
                  <a:moveTo>
                    <a:pt x="987" y="44"/>
                  </a:moveTo>
                  <a:cubicBezTo>
                    <a:pt x="1503" y="44"/>
                    <a:pt x="1503" y="44"/>
                    <a:pt x="1503" y="44"/>
                  </a:cubicBezTo>
                  <a:cubicBezTo>
                    <a:pt x="1503" y="244"/>
                    <a:pt x="1503" y="244"/>
                    <a:pt x="1503" y="244"/>
                  </a:cubicBezTo>
                  <a:cubicBezTo>
                    <a:pt x="987" y="244"/>
                    <a:pt x="987" y="244"/>
                    <a:pt x="987" y="244"/>
                  </a:cubicBezTo>
                  <a:lnTo>
                    <a:pt x="987" y="44"/>
                  </a:lnTo>
                  <a:close/>
                  <a:moveTo>
                    <a:pt x="828" y="604"/>
                  </a:moveTo>
                  <a:cubicBezTo>
                    <a:pt x="828" y="649"/>
                    <a:pt x="828" y="649"/>
                    <a:pt x="828" y="649"/>
                  </a:cubicBezTo>
                  <a:cubicBezTo>
                    <a:pt x="833" y="652"/>
                    <a:pt x="836" y="657"/>
                    <a:pt x="836" y="663"/>
                  </a:cubicBezTo>
                  <a:cubicBezTo>
                    <a:pt x="836" y="672"/>
                    <a:pt x="829" y="679"/>
                    <a:pt x="820" y="679"/>
                  </a:cubicBezTo>
                  <a:cubicBezTo>
                    <a:pt x="784" y="679"/>
                    <a:pt x="784" y="679"/>
                    <a:pt x="784" y="679"/>
                  </a:cubicBezTo>
                  <a:cubicBezTo>
                    <a:pt x="784" y="144"/>
                    <a:pt x="784" y="144"/>
                    <a:pt x="784" y="144"/>
                  </a:cubicBezTo>
                  <a:cubicBezTo>
                    <a:pt x="784" y="132"/>
                    <a:pt x="774" y="122"/>
                    <a:pt x="762" y="122"/>
                  </a:cubicBezTo>
                  <a:cubicBezTo>
                    <a:pt x="397" y="122"/>
                    <a:pt x="397" y="122"/>
                    <a:pt x="397" y="122"/>
                  </a:cubicBezTo>
                  <a:cubicBezTo>
                    <a:pt x="385" y="122"/>
                    <a:pt x="375" y="132"/>
                    <a:pt x="375" y="144"/>
                  </a:cubicBezTo>
                  <a:cubicBezTo>
                    <a:pt x="375" y="679"/>
                    <a:pt x="375" y="679"/>
                    <a:pt x="375" y="679"/>
                  </a:cubicBezTo>
                  <a:cubicBezTo>
                    <a:pt x="339" y="679"/>
                    <a:pt x="339" y="679"/>
                    <a:pt x="339" y="679"/>
                  </a:cubicBezTo>
                  <a:cubicBezTo>
                    <a:pt x="330" y="679"/>
                    <a:pt x="323" y="672"/>
                    <a:pt x="323" y="663"/>
                  </a:cubicBezTo>
                  <a:cubicBezTo>
                    <a:pt x="323" y="657"/>
                    <a:pt x="326" y="652"/>
                    <a:pt x="331" y="649"/>
                  </a:cubicBezTo>
                  <a:cubicBezTo>
                    <a:pt x="331" y="604"/>
                    <a:pt x="331" y="604"/>
                    <a:pt x="331" y="604"/>
                  </a:cubicBezTo>
                  <a:cubicBezTo>
                    <a:pt x="301" y="608"/>
                    <a:pt x="279" y="633"/>
                    <a:pt x="279" y="663"/>
                  </a:cubicBezTo>
                  <a:cubicBezTo>
                    <a:pt x="279" y="696"/>
                    <a:pt x="306" y="723"/>
                    <a:pt x="339" y="723"/>
                  </a:cubicBezTo>
                  <a:cubicBezTo>
                    <a:pt x="397" y="723"/>
                    <a:pt x="397" y="723"/>
                    <a:pt x="397" y="723"/>
                  </a:cubicBezTo>
                  <a:cubicBezTo>
                    <a:pt x="762" y="723"/>
                    <a:pt x="762" y="723"/>
                    <a:pt x="762" y="723"/>
                  </a:cubicBezTo>
                  <a:cubicBezTo>
                    <a:pt x="820" y="723"/>
                    <a:pt x="820" y="723"/>
                    <a:pt x="820" y="723"/>
                  </a:cubicBezTo>
                  <a:cubicBezTo>
                    <a:pt x="853" y="723"/>
                    <a:pt x="880" y="696"/>
                    <a:pt x="880" y="663"/>
                  </a:cubicBezTo>
                  <a:cubicBezTo>
                    <a:pt x="880" y="633"/>
                    <a:pt x="857" y="608"/>
                    <a:pt x="828" y="604"/>
                  </a:cubicBezTo>
                  <a:close/>
                  <a:moveTo>
                    <a:pt x="740" y="679"/>
                  </a:moveTo>
                  <a:cubicBezTo>
                    <a:pt x="419" y="679"/>
                    <a:pt x="419" y="679"/>
                    <a:pt x="419" y="679"/>
                  </a:cubicBezTo>
                  <a:cubicBezTo>
                    <a:pt x="419" y="166"/>
                    <a:pt x="419" y="166"/>
                    <a:pt x="419" y="166"/>
                  </a:cubicBezTo>
                  <a:cubicBezTo>
                    <a:pt x="740" y="166"/>
                    <a:pt x="740" y="166"/>
                    <a:pt x="740" y="166"/>
                  </a:cubicBezTo>
                  <a:lnTo>
                    <a:pt x="740" y="679"/>
                  </a:ln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3355496" y="2142154"/>
            <a:ext cx="993862" cy="153888"/>
          </a:xfrm>
          <a:prstGeom prst="rect">
            <a:avLst/>
          </a:prstGeom>
          <a:solidFill>
            <a:srgbClr val="FFFFFF"/>
          </a:solidFill>
          <a:ln w="9525" cap="rnd">
            <a:noFill/>
            <a:prstDash val="solid"/>
            <a:rou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Производитель</a:t>
            </a:r>
          </a:p>
        </p:txBody>
      </p:sp>
      <p:grpSp>
        <p:nvGrpSpPr>
          <p:cNvPr id="207" name="Group 206"/>
          <p:cNvGrpSpPr>
            <a:grpSpLocks noChangeAspect="1"/>
          </p:cNvGrpSpPr>
          <p:nvPr/>
        </p:nvGrpSpPr>
        <p:grpSpPr>
          <a:xfrm>
            <a:off x="3593936" y="3155475"/>
            <a:ext cx="457200" cy="457200"/>
            <a:chOff x="5278438" y="2605088"/>
            <a:chExt cx="1646237" cy="1646237"/>
          </a:xfrm>
        </p:grpSpPr>
        <p:sp>
          <p:nvSpPr>
            <p:cNvPr id="208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09" name="Group 208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210" name="Freeform 209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11" name="Freeform 210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202" name="Group 201"/>
          <p:cNvGrpSpPr>
            <a:grpSpLocks noChangeAspect="1"/>
          </p:cNvGrpSpPr>
          <p:nvPr/>
        </p:nvGrpSpPr>
        <p:grpSpPr>
          <a:xfrm>
            <a:off x="4313591" y="3559799"/>
            <a:ext cx="457200" cy="457200"/>
            <a:chOff x="5278438" y="2605088"/>
            <a:chExt cx="1646237" cy="1646237"/>
          </a:xfrm>
        </p:grpSpPr>
        <p:sp>
          <p:nvSpPr>
            <p:cNvPr id="20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04" name="Group 203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205" name="Freeform 204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06" name="Freeform 205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96" name="Group 195"/>
          <p:cNvGrpSpPr>
            <a:grpSpLocks noChangeAspect="1"/>
          </p:cNvGrpSpPr>
          <p:nvPr/>
        </p:nvGrpSpPr>
        <p:grpSpPr>
          <a:xfrm>
            <a:off x="5059939" y="3576600"/>
            <a:ext cx="457200" cy="457200"/>
            <a:chOff x="5278438" y="2605088"/>
            <a:chExt cx="1646237" cy="1646237"/>
          </a:xfrm>
        </p:grpSpPr>
        <p:sp>
          <p:nvSpPr>
            <p:cNvPr id="19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98" name="Group 197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199" name="Freeform 198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00" name="Freeform 199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91" name="Group 190"/>
          <p:cNvGrpSpPr>
            <a:grpSpLocks noChangeAspect="1"/>
          </p:cNvGrpSpPr>
          <p:nvPr/>
        </p:nvGrpSpPr>
        <p:grpSpPr>
          <a:xfrm>
            <a:off x="5803780" y="3182605"/>
            <a:ext cx="457200" cy="457200"/>
            <a:chOff x="5278438" y="2605088"/>
            <a:chExt cx="1646237" cy="1646237"/>
          </a:xfrm>
        </p:grpSpPr>
        <p:sp>
          <p:nvSpPr>
            <p:cNvPr id="19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93" name="Group 192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194" name="Freeform 193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95" name="Freeform 194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86" name="Group 185"/>
          <p:cNvGrpSpPr>
            <a:grpSpLocks noChangeAspect="1"/>
          </p:cNvGrpSpPr>
          <p:nvPr/>
        </p:nvGrpSpPr>
        <p:grpSpPr>
          <a:xfrm>
            <a:off x="6509640" y="2815802"/>
            <a:ext cx="457200" cy="457200"/>
            <a:chOff x="5278438" y="2605088"/>
            <a:chExt cx="1646237" cy="1646237"/>
          </a:xfrm>
        </p:grpSpPr>
        <p:sp>
          <p:nvSpPr>
            <p:cNvPr id="18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189" name="Freeform 188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90" name="Freeform 189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8692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6048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4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490330"/>
            <a:ext cx="10342800" cy="464869"/>
          </a:xfrm>
        </p:spPr>
        <p:txBody>
          <a:bodyPr/>
          <a:lstStyle/>
          <a:p>
            <a:r>
              <a:rPr lang="ru-RU" dirty="0">
                <a:latin typeface="+mj-lt"/>
              </a:rPr>
              <a:t>Система маркировки может быть интегрирована с ГИС Меркурий в части готовой упакованной продукции животного происхождения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286542" y="5471441"/>
            <a:ext cx="4728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+mj-lt"/>
              </a:rPr>
              <a:t>Ферма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5917304" y="5471441"/>
            <a:ext cx="41197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+mj-lt"/>
              </a:rPr>
              <a:t>Завод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8394785" y="4942342"/>
            <a:ext cx="592791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rgbClr val="670F31"/>
                </a:solidFill>
                <a:latin typeface="+mj-lt"/>
              </a:defRPr>
            </a:lvl1pPr>
          </a:lstStyle>
          <a:p>
            <a:r>
              <a:rPr lang="ru-RU" dirty="0" err="1"/>
              <a:t>РЦ</a:t>
            </a:r>
            <a:r>
              <a:rPr lang="ru-RU" dirty="0"/>
              <a:t> сети</a:t>
            </a:r>
          </a:p>
        </p:txBody>
      </p:sp>
      <p:sp>
        <p:nvSpPr>
          <p:cNvPr id="242" name="TextBox 241"/>
          <p:cNvSpPr txBox="1"/>
          <p:nvPr/>
        </p:nvSpPr>
        <p:spPr>
          <a:xfrm>
            <a:off x="10436929" y="5471441"/>
            <a:ext cx="65242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rgbClr val="670F31"/>
                </a:solidFill>
                <a:latin typeface="+mj-lt"/>
              </a:defRPr>
            </a:lvl1pPr>
          </a:lstStyle>
          <a:p>
            <a:r>
              <a:rPr lang="ru-RU" dirty="0"/>
              <a:t>Магазин</a:t>
            </a:r>
          </a:p>
        </p:txBody>
      </p:sp>
      <p:sp>
        <p:nvSpPr>
          <p:cNvPr id="295" name="TextBox 294"/>
          <p:cNvSpPr txBox="1"/>
          <p:nvPr/>
        </p:nvSpPr>
        <p:spPr>
          <a:xfrm>
            <a:off x="4398479" y="5374439"/>
            <a:ext cx="71416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+mj-lt"/>
              </a:rPr>
              <a:t>Приемка</a:t>
            </a:r>
            <a:br>
              <a:rPr lang="ru-RU" sz="1200" dirty="0">
                <a:solidFill>
                  <a:schemeClr val="tx2"/>
                </a:solidFill>
                <a:latin typeface="+mj-lt"/>
              </a:rPr>
            </a:br>
            <a:r>
              <a:rPr lang="ru-RU" sz="1200" dirty="0">
                <a:solidFill>
                  <a:schemeClr val="tx2"/>
                </a:solidFill>
                <a:latin typeface="+mj-lt"/>
              </a:rPr>
              <a:t>сырья</a:t>
            </a:r>
          </a:p>
        </p:txBody>
      </p:sp>
      <p:sp>
        <p:nvSpPr>
          <p:cNvPr id="296" name="TextBox 295"/>
          <p:cNvSpPr txBox="1"/>
          <p:nvPr/>
        </p:nvSpPr>
        <p:spPr>
          <a:xfrm>
            <a:off x="5375555" y="4285795"/>
            <a:ext cx="111326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latin typeface="+mj-lt"/>
              </a:rPr>
              <a:t>Производство</a:t>
            </a:r>
            <a:r>
              <a:rPr lang="en-US" sz="1200" dirty="0">
                <a:latin typeface="+mj-lt"/>
              </a:rPr>
              <a:t> </a:t>
            </a:r>
            <a:r>
              <a:rPr lang="ru-RU" sz="1200" dirty="0">
                <a:latin typeface="+mj-lt"/>
              </a:rPr>
              <a:t>продукции</a:t>
            </a:r>
          </a:p>
        </p:txBody>
      </p:sp>
      <p:cxnSp>
        <p:nvCxnSpPr>
          <p:cNvPr id="331" name="Straight Arrow Connector 330"/>
          <p:cNvCxnSpPr/>
          <p:nvPr/>
        </p:nvCxnSpPr>
        <p:spPr>
          <a:xfrm>
            <a:off x="3987183" y="1805066"/>
            <a:ext cx="5000393" cy="0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TextBox 335"/>
          <p:cNvSpPr txBox="1"/>
          <p:nvPr/>
        </p:nvSpPr>
        <p:spPr>
          <a:xfrm>
            <a:off x="4376139" y="1651178"/>
            <a:ext cx="4197690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7F7F7F"/>
                </a:solidFill>
                <a:latin typeface="+mj-lt"/>
              </a:rPr>
              <a:t>данные по </a:t>
            </a:r>
            <a:r>
              <a:rPr lang="ru-RU" sz="1000" dirty="0" err="1">
                <a:solidFill>
                  <a:srgbClr val="7F7F7F"/>
                </a:solidFill>
                <a:latin typeface="+mj-lt"/>
              </a:rPr>
              <a:t>ЭВС</a:t>
            </a:r>
            <a:r>
              <a:rPr lang="ru-RU" sz="1000" dirty="0">
                <a:solidFill>
                  <a:srgbClr val="7F7F7F"/>
                </a:solidFill>
                <a:latin typeface="+mj-lt"/>
              </a:rPr>
              <a:t> для выпуска кодов маркировки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630000" y="6014501"/>
            <a:ext cx="5389067" cy="463296"/>
            <a:chOff x="1087532" y="6014501"/>
            <a:chExt cx="5389067" cy="463296"/>
          </a:xfrm>
        </p:grpSpPr>
        <p:sp>
          <p:nvSpPr>
            <p:cNvPr id="81" name="Скругленный прямоугольник 90"/>
            <p:cNvSpPr>
              <a:spLocks/>
            </p:cNvSpPr>
            <p:nvPr/>
          </p:nvSpPr>
          <p:spPr>
            <a:xfrm>
              <a:off x="3363525" y="6014501"/>
              <a:ext cx="253682" cy="203018"/>
            </a:xfrm>
            <a:prstGeom prst="rect">
              <a:avLst/>
            </a:prstGeom>
            <a:solidFill>
              <a:srgbClr val="CCD3E6"/>
            </a:solidFill>
            <a:ln w="6858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6858" cap="flat" cmpd="sng" algn="ctr">
                  <a:solidFill>
                    <a:srgbClr val="0189B4"/>
                  </a:solidFill>
                  <a:prstDash val="solid"/>
                </a14:hiddenLine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946" tIns="10973" rIns="21946" bIns="10973" rtlCol="0" anchor="ctr"/>
            <a:lstStyle/>
            <a:p>
              <a:pPr algn="ctr"/>
              <a:endParaRPr lang="ru-RU">
                <a:solidFill>
                  <a:srgbClr val="686F6F"/>
                </a:solidFill>
                <a:latin typeface="+mj-lt"/>
              </a:endParaRPr>
            </a:p>
          </p:txBody>
        </p:sp>
        <p:sp>
          <p:nvSpPr>
            <p:cNvPr id="82" name="Скругленный прямоугольник 95"/>
            <p:cNvSpPr>
              <a:spLocks/>
            </p:cNvSpPr>
            <p:nvPr/>
          </p:nvSpPr>
          <p:spPr>
            <a:xfrm>
              <a:off x="1087532" y="6014501"/>
              <a:ext cx="235417" cy="203018"/>
            </a:xfrm>
            <a:prstGeom prst="rect">
              <a:avLst/>
            </a:prstGeom>
            <a:solidFill>
              <a:srgbClr val="98A6CC"/>
            </a:solidFill>
            <a:ln w="6858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6858" cap="flat" cmpd="sng" algn="ctr">
                  <a:solidFill>
                    <a:srgbClr val="0189B4"/>
                  </a:solidFill>
                  <a:prstDash val="solid"/>
                </a14:hiddenLine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946" tIns="10973" rIns="21946" bIns="10973" rtlCol="0" anchor="ctr"/>
            <a:lstStyle/>
            <a:p>
              <a:pPr algn="ctr"/>
              <a:endParaRPr lang="ru-RU">
                <a:solidFill>
                  <a:srgbClr val="686F6F"/>
                </a:solidFill>
                <a:latin typeface="+mj-lt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87522" y="6016132"/>
              <a:ext cx="1837372" cy="46166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ru-RU" sz="1000" dirty="0">
                  <a:solidFill>
                    <a:srgbClr val="686F6F"/>
                  </a:solidFill>
                  <a:latin typeface="+mj-lt"/>
                </a:rPr>
                <a:t>Участники оборота, передающие данные напрямую в ГИС "Меркурий"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3688914" y="6016132"/>
              <a:ext cx="2787685" cy="46166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ru-RU" sz="1000" dirty="0">
                  <a:solidFill>
                    <a:srgbClr val="686F6F"/>
                  </a:solidFill>
                  <a:latin typeface="+mj-lt"/>
                </a:rPr>
                <a:t>Участники оборота, по операциям которых в УПД  формируются информация о выпущенных маркированных товарах</a:t>
              </a: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10276454" y="4565650"/>
            <a:ext cx="973372" cy="974274"/>
            <a:chOff x="5273799" y="2606040"/>
            <a:chExt cx="1644396" cy="1645920"/>
          </a:xfrm>
        </p:grpSpPr>
        <p:sp>
          <p:nvSpPr>
            <p:cNvPr id="80" name="AutoShape 28">
              <a:extLst>
                <a:ext uri="{FF2B5EF4-FFF2-40B4-BE49-F238E27FC236}">
                  <a16:creationId xmlns:a16="http://schemas.microsoft.com/office/drawing/2014/main" id="{7563FC07-0F95-4975-8A35-266F618BA3E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686F6F"/>
                </a:solidFill>
              </a:endParaRPr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5537070" y="2899029"/>
              <a:ext cx="1119378" cy="1182243"/>
              <a:chOff x="5537070" y="2899029"/>
              <a:chExt cx="1119378" cy="1182243"/>
            </a:xfrm>
          </p:grpSpPr>
          <p:sp>
            <p:nvSpPr>
              <p:cNvPr id="85" name="Freeform 30">
                <a:extLst>
                  <a:ext uri="{FF2B5EF4-FFF2-40B4-BE49-F238E27FC236}">
                    <a16:creationId xmlns:a16="http://schemas.microsoft.com/office/drawing/2014/main" id="{49BC73FE-6853-4419-AC44-1784975BCF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8594" y="2961894"/>
                <a:ext cx="1116330" cy="961263"/>
              </a:xfrm>
              <a:custGeom>
                <a:avLst/>
                <a:gdLst>
                  <a:gd name="T0" fmla="*/ 752 w 1564"/>
                  <a:gd name="T1" fmla="*/ 1346 h 1346"/>
                  <a:gd name="T2" fmla="*/ 479 w 1564"/>
                  <a:gd name="T3" fmla="*/ 1346 h 1346"/>
                  <a:gd name="T4" fmla="*/ 469 w 1564"/>
                  <a:gd name="T5" fmla="*/ 1336 h 1346"/>
                  <a:gd name="T6" fmla="*/ 469 w 1564"/>
                  <a:gd name="T7" fmla="*/ 856 h 1346"/>
                  <a:gd name="T8" fmla="*/ 479 w 1564"/>
                  <a:gd name="T9" fmla="*/ 846 h 1346"/>
                  <a:gd name="T10" fmla="*/ 752 w 1564"/>
                  <a:gd name="T11" fmla="*/ 846 h 1346"/>
                  <a:gd name="T12" fmla="*/ 762 w 1564"/>
                  <a:gd name="T13" fmla="*/ 856 h 1346"/>
                  <a:gd name="T14" fmla="*/ 762 w 1564"/>
                  <a:gd name="T15" fmla="*/ 1336 h 1346"/>
                  <a:gd name="T16" fmla="*/ 752 w 1564"/>
                  <a:gd name="T17" fmla="*/ 1346 h 1346"/>
                  <a:gd name="T18" fmla="*/ 1095 w 1564"/>
                  <a:gd name="T19" fmla="*/ 1336 h 1346"/>
                  <a:gd name="T20" fmla="*/ 1095 w 1564"/>
                  <a:gd name="T21" fmla="*/ 856 h 1346"/>
                  <a:gd name="T22" fmla="*/ 1085 w 1564"/>
                  <a:gd name="T23" fmla="*/ 846 h 1346"/>
                  <a:gd name="T24" fmla="*/ 812 w 1564"/>
                  <a:gd name="T25" fmla="*/ 846 h 1346"/>
                  <a:gd name="T26" fmla="*/ 802 w 1564"/>
                  <a:gd name="T27" fmla="*/ 856 h 1346"/>
                  <a:gd name="T28" fmla="*/ 802 w 1564"/>
                  <a:gd name="T29" fmla="*/ 1336 h 1346"/>
                  <a:gd name="T30" fmla="*/ 812 w 1564"/>
                  <a:gd name="T31" fmla="*/ 1346 h 1346"/>
                  <a:gd name="T32" fmla="*/ 1085 w 1564"/>
                  <a:gd name="T33" fmla="*/ 1346 h 1346"/>
                  <a:gd name="T34" fmla="*/ 1095 w 1564"/>
                  <a:gd name="T35" fmla="*/ 1336 h 1346"/>
                  <a:gd name="T36" fmla="*/ 1554 w 1564"/>
                  <a:gd name="T37" fmla="*/ 372 h 1346"/>
                  <a:gd name="T38" fmla="*/ 1384 w 1564"/>
                  <a:gd name="T39" fmla="*/ 18 h 1346"/>
                  <a:gd name="T40" fmla="*/ 1360 w 1564"/>
                  <a:gd name="T41" fmla="*/ 0 h 1346"/>
                  <a:gd name="T42" fmla="*/ 205 w 1564"/>
                  <a:gd name="T43" fmla="*/ 0 h 1346"/>
                  <a:gd name="T44" fmla="*/ 180 w 1564"/>
                  <a:gd name="T45" fmla="*/ 20 h 1346"/>
                  <a:gd name="T46" fmla="*/ 10 w 1564"/>
                  <a:gd name="T47" fmla="*/ 370 h 1346"/>
                  <a:gd name="T48" fmla="*/ 34 w 1564"/>
                  <a:gd name="T49" fmla="*/ 408 h 1346"/>
                  <a:gd name="T50" fmla="*/ 1530 w 1564"/>
                  <a:gd name="T51" fmla="*/ 408 h 1346"/>
                  <a:gd name="T52" fmla="*/ 1554 w 1564"/>
                  <a:gd name="T53" fmla="*/ 372 h 1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64" h="1346">
                    <a:moveTo>
                      <a:pt x="752" y="1346"/>
                    </a:moveTo>
                    <a:cubicBezTo>
                      <a:pt x="479" y="1346"/>
                      <a:pt x="479" y="1346"/>
                      <a:pt x="479" y="1346"/>
                    </a:cubicBezTo>
                    <a:cubicBezTo>
                      <a:pt x="474" y="1346"/>
                      <a:pt x="469" y="1342"/>
                      <a:pt x="469" y="1336"/>
                    </a:cubicBezTo>
                    <a:cubicBezTo>
                      <a:pt x="469" y="856"/>
                      <a:pt x="469" y="856"/>
                      <a:pt x="469" y="856"/>
                    </a:cubicBezTo>
                    <a:cubicBezTo>
                      <a:pt x="469" y="851"/>
                      <a:pt x="474" y="846"/>
                      <a:pt x="479" y="846"/>
                    </a:cubicBezTo>
                    <a:cubicBezTo>
                      <a:pt x="752" y="846"/>
                      <a:pt x="752" y="846"/>
                      <a:pt x="752" y="846"/>
                    </a:cubicBezTo>
                    <a:cubicBezTo>
                      <a:pt x="758" y="846"/>
                      <a:pt x="762" y="851"/>
                      <a:pt x="762" y="856"/>
                    </a:cubicBezTo>
                    <a:cubicBezTo>
                      <a:pt x="762" y="1336"/>
                      <a:pt x="762" y="1336"/>
                      <a:pt x="762" y="1336"/>
                    </a:cubicBezTo>
                    <a:cubicBezTo>
                      <a:pt x="762" y="1342"/>
                      <a:pt x="758" y="1346"/>
                      <a:pt x="752" y="1346"/>
                    </a:cubicBezTo>
                    <a:close/>
                    <a:moveTo>
                      <a:pt x="1095" y="1336"/>
                    </a:moveTo>
                    <a:cubicBezTo>
                      <a:pt x="1095" y="856"/>
                      <a:pt x="1095" y="856"/>
                      <a:pt x="1095" y="856"/>
                    </a:cubicBezTo>
                    <a:cubicBezTo>
                      <a:pt x="1095" y="851"/>
                      <a:pt x="1090" y="846"/>
                      <a:pt x="1085" y="846"/>
                    </a:cubicBezTo>
                    <a:cubicBezTo>
                      <a:pt x="812" y="846"/>
                      <a:pt x="812" y="846"/>
                      <a:pt x="812" y="846"/>
                    </a:cubicBezTo>
                    <a:cubicBezTo>
                      <a:pt x="806" y="846"/>
                      <a:pt x="802" y="851"/>
                      <a:pt x="802" y="856"/>
                    </a:cubicBezTo>
                    <a:cubicBezTo>
                      <a:pt x="802" y="1336"/>
                      <a:pt x="802" y="1336"/>
                      <a:pt x="802" y="1336"/>
                    </a:cubicBezTo>
                    <a:cubicBezTo>
                      <a:pt x="802" y="1342"/>
                      <a:pt x="806" y="1346"/>
                      <a:pt x="812" y="1346"/>
                    </a:cubicBezTo>
                    <a:cubicBezTo>
                      <a:pt x="1085" y="1346"/>
                      <a:pt x="1085" y="1346"/>
                      <a:pt x="1085" y="1346"/>
                    </a:cubicBezTo>
                    <a:cubicBezTo>
                      <a:pt x="1090" y="1346"/>
                      <a:pt x="1095" y="1342"/>
                      <a:pt x="1095" y="1336"/>
                    </a:cubicBezTo>
                    <a:close/>
                    <a:moveTo>
                      <a:pt x="1554" y="372"/>
                    </a:moveTo>
                    <a:cubicBezTo>
                      <a:pt x="1384" y="18"/>
                      <a:pt x="1384" y="18"/>
                      <a:pt x="1384" y="18"/>
                    </a:cubicBezTo>
                    <a:cubicBezTo>
                      <a:pt x="1379" y="9"/>
                      <a:pt x="1370" y="0"/>
                      <a:pt x="1360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194" y="0"/>
                      <a:pt x="185" y="11"/>
                      <a:pt x="180" y="20"/>
                    </a:cubicBezTo>
                    <a:cubicBezTo>
                      <a:pt x="10" y="370"/>
                      <a:pt x="10" y="370"/>
                      <a:pt x="10" y="370"/>
                    </a:cubicBezTo>
                    <a:cubicBezTo>
                      <a:pt x="0" y="388"/>
                      <a:pt x="14" y="408"/>
                      <a:pt x="34" y="408"/>
                    </a:cubicBezTo>
                    <a:cubicBezTo>
                      <a:pt x="1530" y="408"/>
                      <a:pt x="1530" y="408"/>
                      <a:pt x="1530" y="408"/>
                    </a:cubicBezTo>
                    <a:cubicBezTo>
                      <a:pt x="1551" y="408"/>
                      <a:pt x="1564" y="391"/>
                      <a:pt x="1554" y="372"/>
                    </a:cubicBezTo>
                    <a:close/>
                  </a:path>
                </a:pathLst>
              </a:custGeom>
              <a:solidFill>
                <a:srgbClr val="CCD3E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86" name="Freeform 31">
                <a:extLst>
                  <a:ext uri="{FF2B5EF4-FFF2-40B4-BE49-F238E27FC236}">
                    <a16:creationId xmlns:a16="http://schemas.microsoft.com/office/drawing/2014/main" id="{76C2B07B-CC10-467E-80DB-D1179FF6D7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0" y="2899029"/>
                <a:ext cx="1119378" cy="1182243"/>
              </a:xfrm>
              <a:custGeom>
                <a:avLst/>
                <a:gdLst>
                  <a:gd name="T0" fmla="*/ 1524 w 1568"/>
                  <a:gd name="T1" fmla="*/ 1529 h 1655"/>
                  <a:gd name="T2" fmla="*/ 1459 w 1568"/>
                  <a:gd name="T3" fmla="*/ 1529 h 1655"/>
                  <a:gd name="T4" fmla="*/ 1459 w 1568"/>
                  <a:gd name="T5" fmla="*/ 1500 h 1655"/>
                  <a:gd name="T6" fmla="*/ 1438 w 1568"/>
                  <a:gd name="T7" fmla="*/ 1478 h 1655"/>
                  <a:gd name="T8" fmla="*/ 130 w 1568"/>
                  <a:gd name="T9" fmla="*/ 1478 h 1655"/>
                  <a:gd name="T10" fmla="*/ 109 w 1568"/>
                  <a:gd name="T11" fmla="*/ 1500 h 1655"/>
                  <a:gd name="T12" fmla="*/ 109 w 1568"/>
                  <a:gd name="T13" fmla="*/ 1529 h 1655"/>
                  <a:gd name="T14" fmla="*/ 44 w 1568"/>
                  <a:gd name="T15" fmla="*/ 1529 h 1655"/>
                  <a:gd name="T16" fmla="*/ 23 w 1568"/>
                  <a:gd name="T17" fmla="*/ 1551 h 1655"/>
                  <a:gd name="T18" fmla="*/ 23 w 1568"/>
                  <a:gd name="T19" fmla="*/ 1634 h 1655"/>
                  <a:gd name="T20" fmla="*/ 44 w 1568"/>
                  <a:gd name="T21" fmla="*/ 1655 h 1655"/>
                  <a:gd name="T22" fmla="*/ 1524 w 1568"/>
                  <a:gd name="T23" fmla="*/ 1655 h 1655"/>
                  <a:gd name="T24" fmla="*/ 1545 w 1568"/>
                  <a:gd name="T25" fmla="*/ 1634 h 1655"/>
                  <a:gd name="T26" fmla="*/ 1545 w 1568"/>
                  <a:gd name="T27" fmla="*/ 1551 h 1655"/>
                  <a:gd name="T28" fmla="*/ 1524 w 1568"/>
                  <a:gd name="T29" fmla="*/ 1529 h 1655"/>
                  <a:gd name="T30" fmla="*/ 1568 w 1568"/>
                  <a:gd name="T31" fmla="*/ 562 h 1655"/>
                  <a:gd name="T32" fmla="*/ 1568 w 1568"/>
                  <a:gd name="T33" fmla="*/ 583 h 1655"/>
                  <a:gd name="T34" fmla="*/ 1568 w 1568"/>
                  <a:gd name="T35" fmla="*/ 583 h 1655"/>
                  <a:gd name="T36" fmla="*/ 1394 w 1568"/>
                  <a:gd name="T37" fmla="*/ 778 h 1655"/>
                  <a:gd name="T38" fmla="*/ 1394 w 1568"/>
                  <a:gd name="T39" fmla="*/ 1434 h 1655"/>
                  <a:gd name="T40" fmla="*/ 1350 w 1568"/>
                  <a:gd name="T41" fmla="*/ 1434 h 1655"/>
                  <a:gd name="T42" fmla="*/ 1350 w 1568"/>
                  <a:gd name="T43" fmla="*/ 778 h 1655"/>
                  <a:gd name="T44" fmla="*/ 1176 w 1568"/>
                  <a:gd name="T45" fmla="*/ 588 h 1655"/>
                  <a:gd name="T46" fmla="*/ 980 w 1568"/>
                  <a:gd name="T47" fmla="*/ 779 h 1655"/>
                  <a:gd name="T48" fmla="*/ 784 w 1568"/>
                  <a:gd name="T49" fmla="*/ 588 h 1655"/>
                  <a:gd name="T50" fmla="*/ 588 w 1568"/>
                  <a:gd name="T51" fmla="*/ 779 h 1655"/>
                  <a:gd name="T52" fmla="*/ 392 w 1568"/>
                  <a:gd name="T53" fmla="*/ 588 h 1655"/>
                  <a:gd name="T54" fmla="*/ 218 w 1568"/>
                  <a:gd name="T55" fmla="*/ 778 h 1655"/>
                  <a:gd name="T56" fmla="*/ 218 w 1568"/>
                  <a:gd name="T57" fmla="*/ 1434 h 1655"/>
                  <a:gd name="T58" fmla="*/ 174 w 1568"/>
                  <a:gd name="T59" fmla="*/ 1434 h 1655"/>
                  <a:gd name="T60" fmla="*/ 174 w 1568"/>
                  <a:gd name="T61" fmla="*/ 778 h 1655"/>
                  <a:gd name="T62" fmla="*/ 0 w 1568"/>
                  <a:gd name="T63" fmla="*/ 583 h 1655"/>
                  <a:gd name="T64" fmla="*/ 0 w 1568"/>
                  <a:gd name="T65" fmla="*/ 583 h 1655"/>
                  <a:gd name="T66" fmla="*/ 0 w 1568"/>
                  <a:gd name="T67" fmla="*/ 562 h 1655"/>
                  <a:gd name="T68" fmla="*/ 22 w 1568"/>
                  <a:gd name="T69" fmla="*/ 540 h 1655"/>
                  <a:gd name="T70" fmla="*/ 1546 w 1568"/>
                  <a:gd name="T71" fmla="*/ 540 h 1655"/>
                  <a:gd name="T72" fmla="*/ 1568 w 1568"/>
                  <a:gd name="T73" fmla="*/ 562 h 1655"/>
                  <a:gd name="T74" fmla="*/ 1354 w 1568"/>
                  <a:gd name="T75" fmla="*/ 44 h 1655"/>
                  <a:gd name="T76" fmla="*/ 214 w 1568"/>
                  <a:gd name="T77" fmla="*/ 44 h 1655"/>
                  <a:gd name="T78" fmla="*/ 192 w 1568"/>
                  <a:gd name="T79" fmla="*/ 22 h 1655"/>
                  <a:gd name="T80" fmla="*/ 214 w 1568"/>
                  <a:gd name="T81" fmla="*/ 0 h 1655"/>
                  <a:gd name="T82" fmla="*/ 1354 w 1568"/>
                  <a:gd name="T83" fmla="*/ 0 h 1655"/>
                  <a:gd name="T84" fmla="*/ 1376 w 1568"/>
                  <a:gd name="T85" fmla="*/ 22 h 1655"/>
                  <a:gd name="T86" fmla="*/ 1354 w 1568"/>
                  <a:gd name="T87" fmla="*/ 44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68" h="1655">
                    <a:moveTo>
                      <a:pt x="1524" y="1529"/>
                    </a:moveTo>
                    <a:cubicBezTo>
                      <a:pt x="1459" y="1529"/>
                      <a:pt x="1459" y="1529"/>
                      <a:pt x="1459" y="1529"/>
                    </a:cubicBezTo>
                    <a:cubicBezTo>
                      <a:pt x="1459" y="1500"/>
                      <a:pt x="1459" y="1500"/>
                      <a:pt x="1459" y="1500"/>
                    </a:cubicBezTo>
                    <a:cubicBezTo>
                      <a:pt x="1459" y="1488"/>
                      <a:pt x="1450" y="1478"/>
                      <a:pt x="1438" y="1478"/>
                    </a:cubicBezTo>
                    <a:cubicBezTo>
                      <a:pt x="130" y="1478"/>
                      <a:pt x="130" y="1478"/>
                      <a:pt x="130" y="1478"/>
                    </a:cubicBezTo>
                    <a:cubicBezTo>
                      <a:pt x="118" y="1478"/>
                      <a:pt x="109" y="1488"/>
                      <a:pt x="109" y="1500"/>
                    </a:cubicBezTo>
                    <a:cubicBezTo>
                      <a:pt x="109" y="1529"/>
                      <a:pt x="109" y="1529"/>
                      <a:pt x="109" y="1529"/>
                    </a:cubicBezTo>
                    <a:cubicBezTo>
                      <a:pt x="44" y="1529"/>
                      <a:pt x="44" y="1529"/>
                      <a:pt x="44" y="1529"/>
                    </a:cubicBezTo>
                    <a:cubicBezTo>
                      <a:pt x="32" y="1529"/>
                      <a:pt x="23" y="1539"/>
                      <a:pt x="23" y="1551"/>
                    </a:cubicBezTo>
                    <a:cubicBezTo>
                      <a:pt x="23" y="1634"/>
                      <a:pt x="23" y="1634"/>
                      <a:pt x="23" y="1634"/>
                    </a:cubicBezTo>
                    <a:cubicBezTo>
                      <a:pt x="23" y="1646"/>
                      <a:pt x="32" y="1655"/>
                      <a:pt x="44" y="1655"/>
                    </a:cubicBezTo>
                    <a:cubicBezTo>
                      <a:pt x="1524" y="1655"/>
                      <a:pt x="1524" y="1655"/>
                      <a:pt x="1524" y="1655"/>
                    </a:cubicBezTo>
                    <a:cubicBezTo>
                      <a:pt x="1536" y="1655"/>
                      <a:pt x="1545" y="1646"/>
                      <a:pt x="1545" y="1634"/>
                    </a:cubicBezTo>
                    <a:cubicBezTo>
                      <a:pt x="1545" y="1551"/>
                      <a:pt x="1545" y="1551"/>
                      <a:pt x="1545" y="1551"/>
                    </a:cubicBezTo>
                    <a:cubicBezTo>
                      <a:pt x="1545" y="1539"/>
                      <a:pt x="1536" y="1529"/>
                      <a:pt x="1524" y="1529"/>
                    </a:cubicBezTo>
                    <a:close/>
                    <a:moveTo>
                      <a:pt x="1568" y="562"/>
                    </a:move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684"/>
                      <a:pt x="1491" y="767"/>
                      <a:pt x="1394" y="778"/>
                    </a:cubicBezTo>
                    <a:cubicBezTo>
                      <a:pt x="1394" y="1434"/>
                      <a:pt x="1394" y="1434"/>
                      <a:pt x="1394" y="1434"/>
                    </a:cubicBezTo>
                    <a:cubicBezTo>
                      <a:pt x="1350" y="1434"/>
                      <a:pt x="1350" y="1434"/>
                      <a:pt x="1350" y="1434"/>
                    </a:cubicBezTo>
                    <a:cubicBezTo>
                      <a:pt x="1350" y="778"/>
                      <a:pt x="1350" y="778"/>
                      <a:pt x="1350" y="778"/>
                    </a:cubicBezTo>
                    <a:cubicBezTo>
                      <a:pt x="1253" y="767"/>
                      <a:pt x="1178" y="687"/>
                      <a:pt x="1176" y="588"/>
                    </a:cubicBezTo>
                    <a:cubicBezTo>
                      <a:pt x="1173" y="694"/>
                      <a:pt x="1086" y="779"/>
                      <a:pt x="980" y="779"/>
                    </a:cubicBezTo>
                    <a:cubicBezTo>
                      <a:pt x="873" y="779"/>
                      <a:pt x="787" y="694"/>
                      <a:pt x="784" y="588"/>
                    </a:cubicBezTo>
                    <a:cubicBezTo>
                      <a:pt x="781" y="694"/>
                      <a:pt x="695" y="779"/>
                      <a:pt x="588" y="779"/>
                    </a:cubicBezTo>
                    <a:cubicBezTo>
                      <a:pt x="482" y="779"/>
                      <a:pt x="395" y="694"/>
                      <a:pt x="392" y="588"/>
                    </a:cubicBezTo>
                    <a:cubicBezTo>
                      <a:pt x="390" y="687"/>
                      <a:pt x="315" y="767"/>
                      <a:pt x="218" y="778"/>
                    </a:cubicBezTo>
                    <a:cubicBezTo>
                      <a:pt x="218" y="1434"/>
                      <a:pt x="218" y="1434"/>
                      <a:pt x="218" y="1434"/>
                    </a:cubicBezTo>
                    <a:cubicBezTo>
                      <a:pt x="174" y="1434"/>
                      <a:pt x="174" y="1434"/>
                      <a:pt x="174" y="1434"/>
                    </a:cubicBezTo>
                    <a:cubicBezTo>
                      <a:pt x="174" y="778"/>
                      <a:pt x="174" y="778"/>
                      <a:pt x="174" y="778"/>
                    </a:cubicBezTo>
                    <a:cubicBezTo>
                      <a:pt x="77" y="767"/>
                      <a:pt x="0" y="684"/>
                      <a:pt x="0" y="583"/>
                    </a:cubicBezTo>
                    <a:cubicBezTo>
                      <a:pt x="0" y="583"/>
                      <a:pt x="0" y="583"/>
                      <a:pt x="0" y="583"/>
                    </a:cubicBezTo>
                    <a:cubicBezTo>
                      <a:pt x="0" y="562"/>
                      <a:pt x="0" y="562"/>
                      <a:pt x="0" y="562"/>
                    </a:cubicBezTo>
                    <a:cubicBezTo>
                      <a:pt x="0" y="549"/>
                      <a:pt x="10" y="540"/>
                      <a:pt x="22" y="540"/>
                    </a:cubicBezTo>
                    <a:cubicBezTo>
                      <a:pt x="1546" y="540"/>
                      <a:pt x="1546" y="540"/>
                      <a:pt x="1546" y="540"/>
                    </a:cubicBezTo>
                    <a:cubicBezTo>
                      <a:pt x="1558" y="540"/>
                      <a:pt x="1568" y="549"/>
                      <a:pt x="1568" y="562"/>
                    </a:cubicBezTo>
                    <a:close/>
                    <a:moveTo>
                      <a:pt x="1354" y="44"/>
                    </a:moveTo>
                    <a:cubicBezTo>
                      <a:pt x="214" y="44"/>
                      <a:pt x="214" y="44"/>
                      <a:pt x="214" y="44"/>
                    </a:cubicBezTo>
                    <a:cubicBezTo>
                      <a:pt x="202" y="44"/>
                      <a:pt x="192" y="34"/>
                      <a:pt x="192" y="22"/>
                    </a:cubicBezTo>
                    <a:cubicBezTo>
                      <a:pt x="192" y="10"/>
                      <a:pt x="202" y="0"/>
                      <a:pt x="214" y="0"/>
                    </a:cubicBezTo>
                    <a:cubicBezTo>
                      <a:pt x="1354" y="0"/>
                      <a:pt x="1354" y="0"/>
                      <a:pt x="1354" y="0"/>
                    </a:cubicBezTo>
                    <a:cubicBezTo>
                      <a:pt x="1366" y="0"/>
                      <a:pt x="1376" y="10"/>
                      <a:pt x="1376" y="22"/>
                    </a:cubicBezTo>
                    <a:cubicBezTo>
                      <a:pt x="1376" y="34"/>
                      <a:pt x="1366" y="44"/>
                      <a:pt x="1354" y="44"/>
                    </a:cubicBezTo>
                    <a:close/>
                  </a:path>
                </a:pathLst>
              </a:custGeom>
              <a:solidFill>
                <a:srgbClr val="68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</p:grpSp>
      </p:grpSp>
      <p:grpSp>
        <p:nvGrpSpPr>
          <p:cNvPr id="87" name="Group 86"/>
          <p:cNvGrpSpPr/>
          <p:nvPr/>
        </p:nvGrpSpPr>
        <p:grpSpPr>
          <a:xfrm>
            <a:off x="1035755" y="4565558"/>
            <a:ext cx="974460" cy="974458"/>
            <a:chOff x="5272883" y="2606041"/>
            <a:chExt cx="1646234" cy="1646231"/>
          </a:xfrm>
        </p:grpSpPr>
        <p:sp>
          <p:nvSpPr>
            <p:cNvPr id="89" name="AutoShape 121"/>
            <p:cNvSpPr>
              <a:spLocks noChangeAspect="1" noChangeArrowheads="1" noTextEdit="1"/>
            </p:cNvSpPr>
            <p:nvPr/>
          </p:nvSpPr>
          <p:spPr bwMode="auto">
            <a:xfrm>
              <a:off x="5272883" y="2606041"/>
              <a:ext cx="1646234" cy="1646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>
                <a:solidFill>
                  <a:srgbClr val="686F6F"/>
                </a:solidFill>
              </a:endParaRPr>
            </a:p>
          </p:txBody>
        </p:sp>
        <p:sp>
          <p:nvSpPr>
            <p:cNvPr id="90" name="Rectangle 89"/>
            <p:cNvSpPr>
              <a:spLocks noChangeArrowheads="1"/>
            </p:cNvSpPr>
            <p:nvPr/>
          </p:nvSpPr>
          <p:spPr bwMode="auto">
            <a:xfrm>
              <a:off x="5272883" y="2606041"/>
              <a:ext cx="1646234" cy="1646231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>
                <a:solidFill>
                  <a:srgbClr val="686F6F"/>
                </a:solidFill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5374958" y="2863038"/>
              <a:ext cx="1442084" cy="1132236"/>
              <a:chOff x="5374958" y="2863038"/>
              <a:chExt cx="1442084" cy="1132236"/>
            </a:xfrm>
          </p:grpSpPr>
          <p:sp>
            <p:nvSpPr>
              <p:cNvPr id="92" name="Freeform 91"/>
              <p:cNvSpPr>
                <a:spLocks noEditPoints="1"/>
              </p:cNvSpPr>
              <p:nvPr/>
            </p:nvSpPr>
            <p:spPr bwMode="auto">
              <a:xfrm>
                <a:off x="5374958" y="2863038"/>
                <a:ext cx="1442084" cy="1132236"/>
              </a:xfrm>
              <a:custGeom>
                <a:avLst/>
                <a:gdLst>
                  <a:gd name="T0" fmla="*/ 2347 w 3982"/>
                  <a:gd name="T1" fmla="*/ 2312 h 3128"/>
                  <a:gd name="T2" fmla="*/ 2936 w 3982"/>
                  <a:gd name="T3" fmla="*/ 2414 h 3128"/>
                  <a:gd name="T4" fmla="*/ 2815 w 3982"/>
                  <a:gd name="T5" fmla="*/ 2239 h 3128"/>
                  <a:gd name="T6" fmla="*/ 1262 w 3982"/>
                  <a:gd name="T7" fmla="*/ 2239 h 3128"/>
                  <a:gd name="T8" fmla="*/ 631 w 3982"/>
                  <a:gd name="T9" fmla="*/ 1411 h 3128"/>
                  <a:gd name="T10" fmla="*/ 1199 w 3982"/>
                  <a:gd name="T11" fmla="*/ 1576 h 3128"/>
                  <a:gd name="T12" fmla="*/ 1527 w 3982"/>
                  <a:gd name="T13" fmla="*/ 1323 h 3128"/>
                  <a:gd name="T14" fmla="*/ 1473 w 3982"/>
                  <a:gd name="T15" fmla="*/ 936 h 3128"/>
                  <a:gd name="T16" fmla="*/ 1624 w 3982"/>
                  <a:gd name="T17" fmla="*/ 1323 h 3128"/>
                  <a:gd name="T18" fmla="*/ 1215 w 3982"/>
                  <a:gd name="T19" fmla="*/ 1662 h 3128"/>
                  <a:gd name="T20" fmla="*/ 1022 w 3982"/>
                  <a:gd name="T21" fmla="*/ 1966 h 3128"/>
                  <a:gd name="T22" fmla="*/ 1419 w 3982"/>
                  <a:gd name="T23" fmla="*/ 2175 h 3128"/>
                  <a:gd name="T24" fmla="*/ 1833 w 3982"/>
                  <a:gd name="T25" fmla="*/ 2237 h 3128"/>
                  <a:gd name="T26" fmla="*/ 2917 w 3982"/>
                  <a:gd name="T27" fmla="*/ 2212 h 3128"/>
                  <a:gd name="T28" fmla="*/ 3172 w 3982"/>
                  <a:gd name="T29" fmla="*/ 2369 h 3128"/>
                  <a:gd name="T30" fmla="*/ 3530 w 3982"/>
                  <a:gd name="T31" fmla="*/ 2356 h 3128"/>
                  <a:gd name="T32" fmla="*/ 3481 w 3982"/>
                  <a:gd name="T33" fmla="*/ 1171 h 3128"/>
                  <a:gd name="T34" fmla="*/ 1473 w 3982"/>
                  <a:gd name="T35" fmla="*/ 936 h 3128"/>
                  <a:gd name="T36" fmla="*/ 724 w 3982"/>
                  <a:gd name="T37" fmla="*/ 510 h 3128"/>
                  <a:gd name="T38" fmla="*/ 913 w 3982"/>
                  <a:gd name="T39" fmla="*/ 733 h 3128"/>
                  <a:gd name="T40" fmla="*/ 784 w 3982"/>
                  <a:gd name="T41" fmla="*/ 1134 h 3128"/>
                  <a:gd name="T42" fmla="*/ 1294 w 3982"/>
                  <a:gd name="T43" fmla="*/ 847 h 3128"/>
                  <a:gd name="T44" fmla="*/ 1389 w 3982"/>
                  <a:gd name="T45" fmla="*/ 668 h 3128"/>
                  <a:gd name="T46" fmla="*/ 1715 w 3982"/>
                  <a:gd name="T47" fmla="*/ 399 h 3128"/>
                  <a:gd name="T48" fmla="*/ 1565 w 3982"/>
                  <a:gd name="T49" fmla="*/ 638 h 3128"/>
                  <a:gd name="T50" fmla="*/ 1974 w 3982"/>
                  <a:gd name="T51" fmla="*/ 679 h 3128"/>
                  <a:gd name="T52" fmla="*/ 2056 w 3982"/>
                  <a:gd name="T53" fmla="*/ 526 h 3128"/>
                  <a:gd name="T54" fmla="*/ 272 w 3982"/>
                  <a:gd name="T55" fmla="*/ 419 h 3128"/>
                  <a:gd name="T56" fmla="*/ 89 w 3982"/>
                  <a:gd name="T57" fmla="*/ 583 h 3128"/>
                  <a:gd name="T58" fmla="*/ 464 w 3982"/>
                  <a:gd name="T59" fmla="*/ 740 h 3128"/>
                  <a:gd name="T60" fmla="*/ 585 w 3982"/>
                  <a:gd name="T61" fmla="*/ 484 h 3128"/>
                  <a:gd name="T62" fmla="*/ 660 w 3982"/>
                  <a:gd name="T63" fmla="*/ 88 h 3128"/>
                  <a:gd name="T64" fmla="*/ 1001 w 3982"/>
                  <a:gd name="T65" fmla="*/ 372 h 3128"/>
                  <a:gd name="T66" fmla="*/ 1401 w 3982"/>
                  <a:gd name="T67" fmla="*/ 246 h 3128"/>
                  <a:gd name="T68" fmla="*/ 1587 w 3982"/>
                  <a:gd name="T69" fmla="*/ 31 h 3128"/>
                  <a:gd name="T70" fmla="*/ 1502 w 3982"/>
                  <a:gd name="T71" fmla="*/ 449 h 3128"/>
                  <a:gd name="T72" fmla="*/ 2030 w 3982"/>
                  <a:gd name="T73" fmla="*/ 393 h 3128"/>
                  <a:gd name="T74" fmla="*/ 2098 w 3982"/>
                  <a:gd name="T75" fmla="*/ 696 h 3128"/>
                  <a:gd name="T76" fmla="*/ 1584 w 3982"/>
                  <a:gd name="T77" fmla="*/ 777 h 3128"/>
                  <a:gd name="T78" fmla="*/ 3524 w 3982"/>
                  <a:gd name="T79" fmla="*/ 861 h 3128"/>
                  <a:gd name="T80" fmla="*/ 3841 w 3982"/>
                  <a:gd name="T81" fmla="*/ 1003 h 3128"/>
                  <a:gd name="T82" fmla="*/ 3951 w 3982"/>
                  <a:gd name="T83" fmla="*/ 1517 h 3128"/>
                  <a:gd name="T84" fmla="*/ 3894 w 3982"/>
                  <a:gd name="T85" fmla="*/ 1924 h 3128"/>
                  <a:gd name="T86" fmla="*/ 3809 w 3982"/>
                  <a:gd name="T87" fmla="*/ 1714 h 3128"/>
                  <a:gd name="T88" fmla="*/ 3882 w 3982"/>
                  <a:gd name="T89" fmla="*/ 1210 h 3128"/>
                  <a:gd name="T90" fmla="*/ 3592 w 3982"/>
                  <a:gd name="T91" fmla="*/ 962 h 3128"/>
                  <a:gd name="T92" fmla="*/ 3572 w 3982"/>
                  <a:gd name="T93" fmla="*/ 1160 h 3128"/>
                  <a:gd name="T94" fmla="*/ 3613 w 3982"/>
                  <a:gd name="T95" fmla="*/ 2388 h 3128"/>
                  <a:gd name="T96" fmla="*/ 2818 w 3982"/>
                  <a:gd name="T97" fmla="*/ 3065 h 3128"/>
                  <a:gd name="T98" fmla="*/ 2555 w 3982"/>
                  <a:gd name="T99" fmla="*/ 2668 h 3128"/>
                  <a:gd name="T100" fmla="*/ 2315 w 3982"/>
                  <a:gd name="T101" fmla="*/ 2534 h 3128"/>
                  <a:gd name="T102" fmla="*/ 2218 w 3982"/>
                  <a:gd name="T103" fmla="*/ 2256 h 3128"/>
                  <a:gd name="T104" fmla="*/ 1769 w 3982"/>
                  <a:gd name="T105" fmla="*/ 3124 h 3128"/>
                  <a:gd name="T106" fmla="*/ 981 w 3982"/>
                  <a:gd name="T107" fmla="*/ 2059 h 3128"/>
                  <a:gd name="T108" fmla="*/ 756 w 3982"/>
                  <a:gd name="T109" fmla="*/ 1612 h 3128"/>
                  <a:gd name="T110" fmla="*/ 569 w 3982"/>
                  <a:gd name="T111" fmla="*/ 1255 h 3128"/>
                  <a:gd name="T112" fmla="*/ 543 w 3982"/>
                  <a:gd name="T113" fmla="*/ 802 h 3128"/>
                  <a:gd name="T114" fmla="*/ 41 w 3982"/>
                  <a:gd name="T115" fmla="*/ 664 h 3128"/>
                  <a:gd name="T116" fmla="*/ 183 w 3982"/>
                  <a:gd name="T117" fmla="*/ 366 h 3128"/>
                  <a:gd name="T118" fmla="*/ 671 w 3982"/>
                  <a:gd name="T119" fmla="*/ 439 h 3128"/>
                  <a:gd name="T120" fmla="*/ 591 w 3982"/>
                  <a:gd name="T121" fmla="*/ 0 h 3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982" h="3128">
                    <a:moveTo>
                      <a:pt x="3071" y="2428"/>
                    </a:moveTo>
                    <a:lnTo>
                      <a:pt x="3034" y="2457"/>
                    </a:lnTo>
                    <a:lnTo>
                      <a:pt x="2993" y="2482"/>
                    </a:lnTo>
                    <a:lnTo>
                      <a:pt x="2949" y="2504"/>
                    </a:lnTo>
                    <a:lnTo>
                      <a:pt x="2902" y="2522"/>
                    </a:lnTo>
                    <a:lnTo>
                      <a:pt x="2902" y="3041"/>
                    </a:lnTo>
                    <a:lnTo>
                      <a:pt x="3120" y="3041"/>
                    </a:lnTo>
                    <a:lnTo>
                      <a:pt x="3120" y="2445"/>
                    </a:lnTo>
                    <a:lnTo>
                      <a:pt x="3071" y="2428"/>
                    </a:lnTo>
                    <a:close/>
                    <a:moveTo>
                      <a:pt x="2305" y="2239"/>
                    </a:moveTo>
                    <a:lnTo>
                      <a:pt x="2322" y="2278"/>
                    </a:lnTo>
                    <a:lnTo>
                      <a:pt x="2347" y="2312"/>
                    </a:lnTo>
                    <a:lnTo>
                      <a:pt x="2376" y="2345"/>
                    </a:lnTo>
                    <a:lnTo>
                      <a:pt x="2411" y="2376"/>
                    </a:lnTo>
                    <a:lnTo>
                      <a:pt x="2451" y="2401"/>
                    </a:lnTo>
                    <a:lnTo>
                      <a:pt x="2495" y="2423"/>
                    </a:lnTo>
                    <a:lnTo>
                      <a:pt x="2544" y="2441"/>
                    </a:lnTo>
                    <a:lnTo>
                      <a:pt x="2596" y="2454"/>
                    </a:lnTo>
                    <a:lnTo>
                      <a:pt x="2650" y="2463"/>
                    </a:lnTo>
                    <a:lnTo>
                      <a:pt x="2705" y="2465"/>
                    </a:lnTo>
                    <a:lnTo>
                      <a:pt x="2767" y="2461"/>
                    </a:lnTo>
                    <a:lnTo>
                      <a:pt x="2826" y="2452"/>
                    </a:lnTo>
                    <a:lnTo>
                      <a:pt x="2883" y="2436"/>
                    </a:lnTo>
                    <a:lnTo>
                      <a:pt x="2936" y="2414"/>
                    </a:lnTo>
                    <a:lnTo>
                      <a:pt x="2983" y="2387"/>
                    </a:lnTo>
                    <a:lnTo>
                      <a:pt x="2949" y="2363"/>
                    </a:lnTo>
                    <a:lnTo>
                      <a:pt x="2920" y="2341"/>
                    </a:lnTo>
                    <a:lnTo>
                      <a:pt x="2896" y="2321"/>
                    </a:lnTo>
                    <a:lnTo>
                      <a:pt x="2877" y="2300"/>
                    </a:lnTo>
                    <a:lnTo>
                      <a:pt x="2862" y="2283"/>
                    </a:lnTo>
                    <a:lnTo>
                      <a:pt x="2851" y="2270"/>
                    </a:lnTo>
                    <a:lnTo>
                      <a:pt x="2844" y="2260"/>
                    </a:lnTo>
                    <a:lnTo>
                      <a:pt x="2841" y="2256"/>
                    </a:lnTo>
                    <a:lnTo>
                      <a:pt x="2834" y="2249"/>
                    </a:lnTo>
                    <a:lnTo>
                      <a:pt x="2825" y="2242"/>
                    </a:lnTo>
                    <a:lnTo>
                      <a:pt x="2815" y="2239"/>
                    </a:lnTo>
                    <a:lnTo>
                      <a:pt x="2305" y="2239"/>
                    </a:lnTo>
                    <a:close/>
                    <a:moveTo>
                      <a:pt x="1214" y="2224"/>
                    </a:moveTo>
                    <a:lnTo>
                      <a:pt x="1269" y="3035"/>
                    </a:lnTo>
                    <a:lnTo>
                      <a:pt x="1270" y="3036"/>
                    </a:lnTo>
                    <a:lnTo>
                      <a:pt x="1272" y="3036"/>
                    </a:lnTo>
                    <a:lnTo>
                      <a:pt x="1273" y="3037"/>
                    </a:lnTo>
                    <a:lnTo>
                      <a:pt x="1496" y="3037"/>
                    </a:lnTo>
                    <a:lnTo>
                      <a:pt x="1415" y="2260"/>
                    </a:lnTo>
                    <a:lnTo>
                      <a:pt x="1385" y="2259"/>
                    </a:lnTo>
                    <a:lnTo>
                      <a:pt x="1347" y="2256"/>
                    </a:lnTo>
                    <a:lnTo>
                      <a:pt x="1306" y="2249"/>
                    </a:lnTo>
                    <a:lnTo>
                      <a:pt x="1262" y="2239"/>
                    </a:lnTo>
                    <a:lnTo>
                      <a:pt x="1214" y="2224"/>
                    </a:lnTo>
                    <a:close/>
                    <a:moveTo>
                      <a:pt x="771" y="1221"/>
                    </a:moveTo>
                    <a:lnTo>
                      <a:pt x="767" y="1225"/>
                    </a:lnTo>
                    <a:lnTo>
                      <a:pt x="731" y="1246"/>
                    </a:lnTo>
                    <a:lnTo>
                      <a:pt x="702" y="1262"/>
                    </a:lnTo>
                    <a:lnTo>
                      <a:pt x="675" y="1280"/>
                    </a:lnTo>
                    <a:lnTo>
                      <a:pt x="651" y="1297"/>
                    </a:lnTo>
                    <a:lnTo>
                      <a:pt x="632" y="1315"/>
                    </a:lnTo>
                    <a:lnTo>
                      <a:pt x="618" y="1332"/>
                    </a:lnTo>
                    <a:lnTo>
                      <a:pt x="614" y="1350"/>
                    </a:lnTo>
                    <a:lnTo>
                      <a:pt x="618" y="1382"/>
                    </a:lnTo>
                    <a:lnTo>
                      <a:pt x="631" y="1411"/>
                    </a:lnTo>
                    <a:lnTo>
                      <a:pt x="651" y="1440"/>
                    </a:lnTo>
                    <a:lnTo>
                      <a:pt x="679" y="1468"/>
                    </a:lnTo>
                    <a:lnTo>
                      <a:pt x="712" y="1492"/>
                    </a:lnTo>
                    <a:lnTo>
                      <a:pt x="752" y="1514"/>
                    </a:lnTo>
                    <a:lnTo>
                      <a:pt x="796" y="1535"/>
                    </a:lnTo>
                    <a:lnTo>
                      <a:pt x="846" y="1552"/>
                    </a:lnTo>
                    <a:lnTo>
                      <a:pt x="899" y="1565"/>
                    </a:lnTo>
                    <a:lnTo>
                      <a:pt x="956" y="1576"/>
                    </a:lnTo>
                    <a:lnTo>
                      <a:pt x="1015" y="1582"/>
                    </a:lnTo>
                    <a:lnTo>
                      <a:pt x="1077" y="1585"/>
                    </a:lnTo>
                    <a:lnTo>
                      <a:pt x="1139" y="1582"/>
                    </a:lnTo>
                    <a:lnTo>
                      <a:pt x="1199" y="1576"/>
                    </a:lnTo>
                    <a:lnTo>
                      <a:pt x="1256" y="1565"/>
                    </a:lnTo>
                    <a:lnTo>
                      <a:pt x="1309" y="1552"/>
                    </a:lnTo>
                    <a:lnTo>
                      <a:pt x="1358" y="1535"/>
                    </a:lnTo>
                    <a:lnTo>
                      <a:pt x="1404" y="1514"/>
                    </a:lnTo>
                    <a:lnTo>
                      <a:pt x="1442" y="1492"/>
                    </a:lnTo>
                    <a:lnTo>
                      <a:pt x="1477" y="1468"/>
                    </a:lnTo>
                    <a:lnTo>
                      <a:pt x="1503" y="1440"/>
                    </a:lnTo>
                    <a:lnTo>
                      <a:pt x="1524" y="1411"/>
                    </a:lnTo>
                    <a:lnTo>
                      <a:pt x="1536" y="1382"/>
                    </a:lnTo>
                    <a:lnTo>
                      <a:pt x="1540" y="1350"/>
                    </a:lnTo>
                    <a:lnTo>
                      <a:pt x="1538" y="1337"/>
                    </a:lnTo>
                    <a:lnTo>
                      <a:pt x="1527" y="1323"/>
                    </a:lnTo>
                    <a:lnTo>
                      <a:pt x="1510" y="1310"/>
                    </a:lnTo>
                    <a:lnTo>
                      <a:pt x="1489" y="1297"/>
                    </a:lnTo>
                    <a:lnTo>
                      <a:pt x="1466" y="1284"/>
                    </a:lnTo>
                    <a:lnTo>
                      <a:pt x="1441" y="1272"/>
                    </a:lnTo>
                    <a:lnTo>
                      <a:pt x="1415" y="1261"/>
                    </a:lnTo>
                    <a:lnTo>
                      <a:pt x="1379" y="1243"/>
                    </a:lnTo>
                    <a:lnTo>
                      <a:pt x="1345" y="1225"/>
                    </a:lnTo>
                    <a:lnTo>
                      <a:pt x="1340" y="1224"/>
                    </a:lnTo>
                    <a:lnTo>
                      <a:pt x="788" y="1224"/>
                    </a:lnTo>
                    <a:lnTo>
                      <a:pt x="780" y="1222"/>
                    </a:lnTo>
                    <a:lnTo>
                      <a:pt x="771" y="1221"/>
                    </a:lnTo>
                    <a:close/>
                    <a:moveTo>
                      <a:pt x="1473" y="936"/>
                    </a:moveTo>
                    <a:lnTo>
                      <a:pt x="1441" y="1144"/>
                    </a:lnTo>
                    <a:lnTo>
                      <a:pt x="1438" y="1159"/>
                    </a:lnTo>
                    <a:lnTo>
                      <a:pt x="1431" y="1173"/>
                    </a:lnTo>
                    <a:lnTo>
                      <a:pt x="1452" y="1181"/>
                    </a:lnTo>
                    <a:lnTo>
                      <a:pt x="1481" y="1195"/>
                    </a:lnTo>
                    <a:lnTo>
                      <a:pt x="1509" y="1208"/>
                    </a:lnTo>
                    <a:lnTo>
                      <a:pt x="1536" y="1224"/>
                    </a:lnTo>
                    <a:lnTo>
                      <a:pt x="1561" y="1240"/>
                    </a:lnTo>
                    <a:lnTo>
                      <a:pt x="1583" y="1257"/>
                    </a:lnTo>
                    <a:lnTo>
                      <a:pt x="1601" y="1277"/>
                    </a:lnTo>
                    <a:lnTo>
                      <a:pt x="1616" y="1298"/>
                    </a:lnTo>
                    <a:lnTo>
                      <a:pt x="1624" y="1323"/>
                    </a:lnTo>
                    <a:lnTo>
                      <a:pt x="1627" y="1350"/>
                    </a:lnTo>
                    <a:lnTo>
                      <a:pt x="1623" y="1390"/>
                    </a:lnTo>
                    <a:lnTo>
                      <a:pt x="1611" y="1430"/>
                    </a:lnTo>
                    <a:lnTo>
                      <a:pt x="1591" y="1468"/>
                    </a:lnTo>
                    <a:lnTo>
                      <a:pt x="1564" y="1502"/>
                    </a:lnTo>
                    <a:lnTo>
                      <a:pt x="1531" y="1535"/>
                    </a:lnTo>
                    <a:lnTo>
                      <a:pt x="1491" y="1564"/>
                    </a:lnTo>
                    <a:lnTo>
                      <a:pt x="1445" y="1592"/>
                    </a:lnTo>
                    <a:lnTo>
                      <a:pt x="1394" y="1615"/>
                    </a:lnTo>
                    <a:lnTo>
                      <a:pt x="1338" y="1634"/>
                    </a:lnTo>
                    <a:lnTo>
                      <a:pt x="1278" y="1649"/>
                    </a:lnTo>
                    <a:lnTo>
                      <a:pt x="1215" y="1662"/>
                    </a:lnTo>
                    <a:lnTo>
                      <a:pt x="1148" y="1669"/>
                    </a:lnTo>
                    <a:lnTo>
                      <a:pt x="1077" y="1671"/>
                    </a:lnTo>
                    <a:lnTo>
                      <a:pt x="1015" y="1669"/>
                    </a:lnTo>
                    <a:lnTo>
                      <a:pt x="956" y="1663"/>
                    </a:lnTo>
                    <a:lnTo>
                      <a:pt x="956" y="1694"/>
                    </a:lnTo>
                    <a:lnTo>
                      <a:pt x="956" y="1727"/>
                    </a:lnTo>
                    <a:lnTo>
                      <a:pt x="959" y="1764"/>
                    </a:lnTo>
                    <a:lnTo>
                      <a:pt x="964" y="1802"/>
                    </a:lnTo>
                    <a:lnTo>
                      <a:pt x="973" y="1844"/>
                    </a:lnTo>
                    <a:lnTo>
                      <a:pt x="985" y="1885"/>
                    </a:lnTo>
                    <a:lnTo>
                      <a:pt x="1001" y="1926"/>
                    </a:lnTo>
                    <a:lnTo>
                      <a:pt x="1022" y="1966"/>
                    </a:lnTo>
                    <a:lnTo>
                      <a:pt x="1048" y="2004"/>
                    </a:lnTo>
                    <a:lnTo>
                      <a:pt x="1080" y="2039"/>
                    </a:lnTo>
                    <a:lnTo>
                      <a:pt x="1113" y="2070"/>
                    </a:lnTo>
                    <a:lnTo>
                      <a:pt x="1148" y="2095"/>
                    </a:lnTo>
                    <a:lnTo>
                      <a:pt x="1182" y="2115"/>
                    </a:lnTo>
                    <a:lnTo>
                      <a:pt x="1189" y="2118"/>
                    </a:lnTo>
                    <a:lnTo>
                      <a:pt x="1234" y="2139"/>
                    </a:lnTo>
                    <a:lnTo>
                      <a:pt x="1278" y="2154"/>
                    </a:lnTo>
                    <a:lnTo>
                      <a:pt x="1320" y="2164"/>
                    </a:lnTo>
                    <a:lnTo>
                      <a:pt x="1358" y="2170"/>
                    </a:lnTo>
                    <a:lnTo>
                      <a:pt x="1391" y="2173"/>
                    </a:lnTo>
                    <a:lnTo>
                      <a:pt x="1419" y="2175"/>
                    </a:lnTo>
                    <a:lnTo>
                      <a:pt x="1440" y="2173"/>
                    </a:lnTo>
                    <a:lnTo>
                      <a:pt x="1451" y="2173"/>
                    </a:lnTo>
                    <a:lnTo>
                      <a:pt x="1467" y="2175"/>
                    </a:lnTo>
                    <a:lnTo>
                      <a:pt x="1482" y="2183"/>
                    </a:lnTo>
                    <a:lnTo>
                      <a:pt x="1492" y="2195"/>
                    </a:lnTo>
                    <a:lnTo>
                      <a:pt x="1498" y="2212"/>
                    </a:lnTo>
                    <a:lnTo>
                      <a:pt x="1584" y="3037"/>
                    </a:lnTo>
                    <a:lnTo>
                      <a:pt x="1769" y="3037"/>
                    </a:lnTo>
                    <a:lnTo>
                      <a:pt x="1770" y="3036"/>
                    </a:lnTo>
                    <a:lnTo>
                      <a:pt x="1772" y="3036"/>
                    </a:lnTo>
                    <a:lnTo>
                      <a:pt x="1773" y="3035"/>
                    </a:lnTo>
                    <a:lnTo>
                      <a:pt x="1833" y="2237"/>
                    </a:lnTo>
                    <a:lnTo>
                      <a:pt x="1837" y="2215"/>
                    </a:lnTo>
                    <a:lnTo>
                      <a:pt x="1846" y="2194"/>
                    </a:lnTo>
                    <a:lnTo>
                      <a:pt x="1861" y="2177"/>
                    </a:lnTo>
                    <a:lnTo>
                      <a:pt x="1879" y="2164"/>
                    </a:lnTo>
                    <a:lnTo>
                      <a:pt x="1900" y="2155"/>
                    </a:lnTo>
                    <a:lnTo>
                      <a:pt x="1922" y="2152"/>
                    </a:lnTo>
                    <a:lnTo>
                      <a:pt x="2815" y="2152"/>
                    </a:lnTo>
                    <a:lnTo>
                      <a:pt x="2839" y="2155"/>
                    </a:lnTo>
                    <a:lnTo>
                      <a:pt x="2862" y="2164"/>
                    </a:lnTo>
                    <a:lnTo>
                      <a:pt x="2884" y="2176"/>
                    </a:lnTo>
                    <a:lnTo>
                      <a:pt x="2903" y="2192"/>
                    </a:lnTo>
                    <a:lnTo>
                      <a:pt x="2917" y="2212"/>
                    </a:lnTo>
                    <a:lnTo>
                      <a:pt x="2920" y="2216"/>
                    </a:lnTo>
                    <a:lnTo>
                      <a:pt x="2927" y="2226"/>
                    </a:lnTo>
                    <a:lnTo>
                      <a:pt x="2938" y="2239"/>
                    </a:lnTo>
                    <a:lnTo>
                      <a:pt x="2953" y="2256"/>
                    </a:lnTo>
                    <a:lnTo>
                      <a:pt x="2975" y="2274"/>
                    </a:lnTo>
                    <a:lnTo>
                      <a:pt x="3001" y="2294"/>
                    </a:lnTo>
                    <a:lnTo>
                      <a:pt x="3033" y="2315"/>
                    </a:lnTo>
                    <a:lnTo>
                      <a:pt x="3070" y="2334"/>
                    </a:lnTo>
                    <a:lnTo>
                      <a:pt x="3083" y="2337"/>
                    </a:lnTo>
                    <a:lnTo>
                      <a:pt x="3092" y="2344"/>
                    </a:lnTo>
                    <a:lnTo>
                      <a:pt x="3131" y="2358"/>
                    </a:lnTo>
                    <a:lnTo>
                      <a:pt x="3172" y="2369"/>
                    </a:lnTo>
                    <a:lnTo>
                      <a:pt x="3186" y="2374"/>
                    </a:lnTo>
                    <a:lnTo>
                      <a:pt x="3197" y="2384"/>
                    </a:lnTo>
                    <a:lnTo>
                      <a:pt x="3204" y="2396"/>
                    </a:lnTo>
                    <a:lnTo>
                      <a:pt x="3207" y="2412"/>
                    </a:lnTo>
                    <a:lnTo>
                      <a:pt x="3207" y="3041"/>
                    </a:lnTo>
                    <a:lnTo>
                      <a:pt x="3409" y="3041"/>
                    </a:lnTo>
                    <a:lnTo>
                      <a:pt x="3412" y="3041"/>
                    </a:lnTo>
                    <a:lnTo>
                      <a:pt x="3413" y="3040"/>
                    </a:lnTo>
                    <a:lnTo>
                      <a:pt x="3416" y="3037"/>
                    </a:lnTo>
                    <a:lnTo>
                      <a:pt x="3416" y="3036"/>
                    </a:lnTo>
                    <a:lnTo>
                      <a:pt x="3528" y="2374"/>
                    </a:lnTo>
                    <a:lnTo>
                      <a:pt x="3530" y="2356"/>
                    </a:lnTo>
                    <a:lnTo>
                      <a:pt x="3532" y="2336"/>
                    </a:lnTo>
                    <a:lnTo>
                      <a:pt x="3533" y="2314"/>
                    </a:lnTo>
                    <a:lnTo>
                      <a:pt x="3533" y="2296"/>
                    </a:lnTo>
                    <a:lnTo>
                      <a:pt x="3518" y="1294"/>
                    </a:lnTo>
                    <a:lnTo>
                      <a:pt x="3518" y="1277"/>
                    </a:lnTo>
                    <a:lnTo>
                      <a:pt x="3514" y="1259"/>
                    </a:lnTo>
                    <a:lnTo>
                      <a:pt x="3510" y="1240"/>
                    </a:lnTo>
                    <a:lnTo>
                      <a:pt x="3506" y="1225"/>
                    </a:lnTo>
                    <a:lnTo>
                      <a:pt x="3504" y="1221"/>
                    </a:lnTo>
                    <a:lnTo>
                      <a:pt x="3499" y="1210"/>
                    </a:lnTo>
                    <a:lnTo>
                      <a:pt x="3492" y="1193"/>
                    </a:lnTo>
                    <a:lnTo>
                      <a:pt x="3481" y="1171"/>
                    </a:lnTo>
                    <a:lnTo>
                      <a:pt x="3467" y="1146"/>
                    </a:lnTo>
                    <a:lnTo>
                      <a:pt x="3450" y="1119"/>
                    </a:lnTo>
                    <a:lnTo>
                      <a:pt x="3431" y="1090"/>
                    </a:lnTo>
                    <a:lnTo>
                      <a:pt x="3408" y="1061"/>
                    </a:lnTo>
                    <a:lnTo>
                      <a:pt x="3383" y="1032"/>
                    </a:lnTo>
                    <a:lnTo>
                      <a:pt x="3355" y="1006"/>
                    </a:lnTo>
                    <a:lnTo>
                      <a:pt x="3324" y="981"/>
                    </a:lnTo>
                    <a:lnTo>
                      <a:pt x="3291" y="960"/>
                    </a:lnTo>
                    <a:lnTo>
                      <a:pt x="3253" y="945"/>
                    </a:lnTo>
                    <a:lnTo>
                      <a:pt x="3215" y="936"/>
                    </a:lnTo>
                    <a:lnTo>
                      <a:pt x="1474" y="936"/>
                    </a:lnTo>
                    <a:lnTo>
                      <a:pt x="1473" y="936"/>
                    </a:lnTo>
                    <a:close/>
                    <a:moveTo>
                      <a:pt x="1313" y="412"/>
                    </a:moveTo>
                    <a:lnTo>
                      <a:pt x="1255" y="435"/>
                    </a:lnTo>
                    <a:lnTo>
                      <a:pt x="1194" y="450"/>
                    </a:lnTo>
                    <a:lnTo>
                      <a:pt x="1134" y="460"/>
                    </a:lnTo>
                    <a:lnTo>
                      <a:pt x="1073" y="464"/>
                    </a:lnTo>
                    <a:lnTo>
                      <a:pt x="1008" y="460"/>
                    </a:lnTo>
                    <a:lnTo>
                      <a:pt x="948" y="450"/>
                    </a:lnTo>
                    <a:lnTo>
                      <a:pt x="891" y="435"/>
                    </a:lnTo>
                    <a:lnTo>
                      <a:pt x="836" y="413"/>
                    </a:lnTo>
                    <a:lnTo>
                      <a:pt x="831" y="420"/>
                    </a:lnTo>
                    <a:lnTo>
                      <a:pt x="731" y="501"/>
                    </a:lnTo>
                    <a:lnTo>
                      <a:pt x="724" y="510"/>
                    </a:lnTo>
                    <a:lnTo>
                      <a:pt x="719" y="522"/>
                    </a:lnTo>
                    <a:lnTo>
                      <a:pt x="718" y="534"/>
                    </a:lnTo>
                    <a:lnTo>
                      <a:pt x="735" y="699"/>
                    </a:lnTo>
                    <a:lnTo>
                      <a:pt x="752" y="682"/>
                    </a:lnTo>
                    <a:lnTo>
                      <a:pt x="770" y="670"/>
                    </a:lnTo>
                    <a:lnTo>
                      <a:pt x="792" y="661"/>
                    </a:lnTo>
                    <a:lnTo>
                      <a:pt x="815" y="659"/>
                    </a:lnTo>
                    <a:lnTo>
                      <a:pt x="843" y="663"/>
                    </a:lnTo>
                    <a:lnTo>
                      <a:pt x="866" y="672"/>
                    </a:lnTo>
                    <a:lnTo>
                      <a:pt x="887" y="689"/>
                    </a:lnTo>
                    <a:lnTo>
                      <a:pt x="902" y="710"/>
                    </a:lnTo>
                    <a:lnTo>
                      <a:pt x="913" y="733"/>
                    </a:lnTo>
                    <a:lnTo>
                      <a:pt x="916" y="761"/>
                    </a:lnTo>
                    <a:lnTo>
                      <a:pt x="913" y="787"/>
                    </a:lnTo>
                    <a:lnTo>
                      <a:pt x="902" y="812"/>
                    </a:lnTo>
                    <a:lnTo>
                      <a:pt x="887" y="832"/>
                    </a:lnTo>
                    <a:lnTo>
                      <a:pt x="866" y="847"/>
                    </a:lnTo>
                    <a:lnTo>
                      <a:pt x="843" y="857"/>
                    </a:lnTo>
                    <a:lnTo>
                      <a:pt x="815" y="861"/>
                    </a:lnTo>
                    <a:lnTo>
                      <a:pt x="792" y="858"/>
                    </a:lnTo>
                    <a:lnTo>
                      <a:pt x="770" y="850"/>
                    </a:lnTo>
                    <a:lnTo>
                      <a:pt x="751" y="838"/>
                    </a:lnTo>
                    <a:lnTo>
                      <a:pt x="784" y="1131"/>
                    </a:lnTo>
                    <a:lnTo>
                      <a:pt x="784" y="1134"/>
                    </a:lnTo>
                    <a:lnTo>
                      <a:pt x="786" y="1135"/>
                    </a:lnTo>
                    <a:lnTo>
                      <a:pt x="788" y="1137"/>
                    </a:lnTo>
                    <a:lnTo>
                      <a:pt x="1349" y="1137"/>
                    </a:lnTo>
                    <a:lnTo>
                      <a:pt x="1350" y="1135"/>
                    </a:lnTo>
                    <a:lnTo>
                      <a:pt x="1353" y="1134"/>
                    </a:lnTo>
                    <a:lnTo>
                      <a:pt x="1354" y="1133"/>
                    </a:lnTo>
                    <a:lnTo>
                      <a:pt x="1356" y="1130"/>
                    </a:lnTo>
                    <a:lnTo>
                      <a:pt x="1400" y="846"/>
                    </a:lnTo>
                    <a:lnTo>
                      <a:pt x="1374" y="857"/>
                    </a:lnTo>
                    <a:lnTo>
                      <a:pt x="1345" y="861"/>
                    </a:lnTo>
                    <a:lnTo>
                      <a:pt x="1318" y="857"/>
                    </a:lnTo>
                    <a:lnTo>
                      <a:pt x="1294" y="847"/>
                    </a:lnTo>
                    <a:lnTo>
                      <a:pt x="1273" y="832"/>
                    </a:lnTo>
                    <a:lnTo>
                      <a:pt x="1258" y="812"/>
                    </a:lnTo>
                    <a:lnTo>
                      <a:pt x="1248" y="787"/>
                    </a:lnTo>
                    <a:lnTo>
                      <a:pt x="1244" y="761"/>
                    </a:lnTo>
                    <a:lnTo>
                      <a:pt x="1248" y="733"/>
                    </a:lnTo>
                    <a:lnTo>
                      <a:pt x="1258" y="710"/>
                    </a:lnTo>
                    <a:lnTo>
                      <a:pt x="1273" y="689"/>
                    </a:lnTo>
                    <a:lnTo>
                      <a:pt x="1294" y="672"/>
                    </a:lnTo>
                    <a:lnTo>
                      <a:pt x="1318" y="663"/>
                    </a:lnTo>
                    <a:lnTo>
                      <a:pt x="1345" y="659"/>
                    </a:lnTo>
                    <a:lnTo>
                      <a:pt x="1368" y="661"/>
                    </a:lnTo>
                    <a:lnTo>
                      <a:pt x="1389" y="668"/>
                    </a:lnTo>
                    <a:lnTo>
                      <a:pt x="1407" y="681"/>
                    </a:lnTo>
                    <a:lnTo>
                      <a:pt x="1422" y="696"/>
                    </a:lnTo>
                    <a:lnTo>
                      <a:pt x="1447" y="534"/>
                    </a:lnTo>
                    <a:lnTo>
                      <a:pt x="1447" y="525"/>
                    </a:lnTo>
                    <a:lnTo>
                      <a:pt x="1442" y="514"/>
                    </a:lnTo>
                    <a:lnTo>
                      <a:pt x="1436" y="506"/>
                    </a:lnTo>
                    <a:lnTo>
                      <a:pt x="1318" y="417"/>
                    </a:lnTo>
                    <a:lnTo>
                      <a:pt x="1316" y="415"/>
                    </a:lnTo>
                    <a:lnTo>
                      <a:pt x="1313" y="412"/>
                    </a:lnTo>
                    <a:close/>
                    <a:moveTo>
                      <a:pt x="1775" y="393"/>
                    </a:moveTo>
                    <a:lnTo>
                      <a:pt x="1744" y="394"/>
                    </a:lnTo>
                    <a:lnTo>
                      <a:pt x="1715" y="399"/>
                    </a:lnTo>
                    <a:lnTo>
                      <a:pt x="1688" y="409"/>
                    </a:lnTo>
                    <a:lnTo>
                      <a:pt x="1660" y="423"/>
                    </a:lnTo>
                    <a:lnTo>
                      <a:pt x="1633" y="441"/>
                    </a:lnTo>
                    <a:lnTo>
                      <a:pt x="1608" y="460"/>
                    </a:lnTo>
                    <a:lnTo>
                      <a:pt x="1586" y="484"/>
                    </a:lnTo>
                    <a:lnTo>
                      <a:pt x="1567" y="506"/>
                    </a:lnTo>
                    <a:lnTo>
                      <a:pt x="1553" y="529"/>
                    </a:lnTo>
                    <a:lnTo>
                      <a:pt x="1543" y="552"/>
                    </a:lnTo>
                    <a:lnTo>
                      <a:pt x="1540" y="573"/>
                    </a:lnTo>
                    <a:lnTo>
                      <a:pt x="1544" y="594"/>
                    </a:lnTo>
                    <a:lnTo>
                      <a:pt x="1553" y="616"/>
                    </a:lnTo>
                    <a:lnTo>
                      <a:pt x="1565" y="638"/>
                    </a:lnTo>
                    <a:lnTo>
                      <a:pt x="1582" y="660"/>
                    </a:lnTo>
                    <a:lnTo>
                      <a:pt x="1602" y="681"/>
                    </a:lnTo>
                    <a:lnTo>
                      <a:pt x="1635" y="705"/>
                    </a:lnTo>
                    <a:lnTo>
                      <a:pt x="1671" y="726"/>
                    </a:lnTo>
                    <a:lnTo>
                      <a:pt x="1707" y="740"/>
                    </a:lnTo>
                    <a:lnTo>
                      <a:pt x="1746" y="748"/>
                    </a:lnTo>
                    <a:lnTo>
                      <a:pt x="1783" y="748"/>
                    </a:lnTo>
                    <a:lnTo>
                      <a:pt x="1820" y="744"/>
                    </a:lnTo>
                    <a:lnTo>
                      <a:pt x="1859" y="733"/>
                    </a:lnTo>
                    <a:lnTo>
                      <a:pt x="1897" y="718"/>
                    </a:lnTo>
                    <a:lnTo>
                      <a:pt x="1937" y="700"/>
                    </a:lnTo>
                    <a:lnTo>
                      <a:pt x="1974" y="679"/>
                    </a:lnTo>
                    <a:lnTo>
                      <a:pt x="2009" y="656"/>
                    </a:lnTo>
                    <a:lnTo>
                      <a:pt x="2038" y="632"/>
                    </a:lnTo>
                    <a:lnTo>
                      <a:pt x="2061" y="610"/>
                    </a:lnTo>
                    <a:lnTo>
                      <a:pt x="2078" y="588"/>
                    </a:lnTo>
                    <a:lnTo>
                      <a:pt x="2082" y="583"/>
                    </a:lnTo>
                    <a:lnTo>
                      <a:pt x="2083" y="577"/>
                    </a:lnTo>
                    <a:lnTo>
                      <a:pt x="2085" y="574"/>
                    </a:lnTo>
                    <a:lnTo>
                      <a:pt x="2085" y="572"/>
                    </a:lnTo>
                    <a:lnTo>
                      <a:pt x="2086" y="569"/>
                    </a:lnTo>
                    <a:lnTo>
                      <a:pt x="2085" y="569"/>
                    </a:lnTo>
                    <a:lnTo>
                      <a:pt x="2074" y="548"/>
                    </a:lnTo>
                    <a:lnTo>
                      <a:pt x="2056" y="526"/>
                    </a:lnTo>
                    <a:lnTo>
                      <a:pt x="2032" y="504"/>
                    </a:lnTo>
                    <a:lnTo>
                      <a:pt x="2005" y="481"/>
                    </a:lnTo>
                    <a:lnTo>
                      <a:pt x="1973" y="457"/>
                    </a:lnTo>
                    <a:lnTo>
                      <a:pt x="1937" y="437"/>
                    </a:lnTo>
                    <a:lnTo>
                      <a:pt x="1899" y="419"/>
                    </a:lnTo>
                    <a:lnTo>
                      <a:pt x="1859" y="405"/>
                    </a:lnTo>
                    <a:lnTo>
                      <a:pt x="1817" y="397"/>
                    </a:lnTo>
                    <a:lnTo>
                      <a:pt x="1775" y="393"/>
                    </a:lnTo>
                    <a:close/>
                    <a:moveTo>
                      <a:pt x="396" y="393"/>
                    </a:moveTo>
                    <a:lnTo>
                      <a:pt x="354" y="397"/>
                    </a:lnTo>
                    <a:lnTo>
                      <a:pt x="312" y="405"/>
                    </a:lnTo>
                    <a:lnTo>
                      <a:pt x="272" y="419"/>
                    </a:lnTo>
                    <a:lnTo>
                      <a:pt x="234" y="437"/>
                    </a:lnTo>
                    <a:lnTo>
                      <a:pt x="198" y="457"/>
                    </a:lnTo>
                    <a:lnTo>
                      <a:pt x="166" y="481"/>
                    </a:lnTo>
                    <a:lnTo>
                      <a:pt x="139" y="504"/>
                    </a:lnTo>
                    <a:lnTo>
                      <a:pt x="115" y="526"/>
                    </a:lnTo>
                    <a:lnTo>
                      <a:pt x="97" y="548"/>
                    </a:lnTo>
                    <a:lnTo>
                      <a:pt x="86" y="569"/>
                    </a:lnTo>
                    <a:lnTo>
                      <a:pt x="85" y="569"/>
                    </a:lnTo>
                    <a:lnTo>
                      <a:pt x="86" y="572"/>
                    </a:lnTo>
                    <a:lnTo>
                      <a:pt x="86" y="574"/>
                    </a:lnTo>
                    <a:lnTo>
                      <a:pt x="88" y="577"/>
                    </a:lnTo>
                    <a:lnTo>
                      <a:pt x="89" y="583"/>
                    </a:lnTo>
                    <a:lnTo>
                      <a:pt x="93" y="588"/>
                    </a:lnTo>
                    <a:lnTo>
                      <a:pt x="110" y="610"/>
                    </a:lnTo>
                    <a:lnTo>
                      <a:pt x="133" y="632"/>
                    </a:lnTo>
                    <a:lnTo>
                      <a:pt x="162" y="656"/>
                    </a:lnTo>
                    <a:lnTo>
                      <a:pt x="197" y="679"/>
                    </a:lnTo>
                    <a:lnTo>
                      <a:pt x="234" y="700"/>
                    </a:lnTo>
                    <a:lnTo>
                      <a:pt x="274" y="718"/>
                    </a:lnTo>
                    <a:lnTo>
                      <a:pt x="312" y="733"/>
                    </a:lnTo>
                    <a:lnTo>
                      <a:pt x="351" y="744"/>
                    </a:lnTo>
                    <a:lnTo>
                      <a:pt x="388" y="748"/>
                    </a:lnTo>
                    <a:lnTo>
                      <a:pt x="425" y="748"/>
                    </a:lnTo>
                    <a:lnTo>
                      <a:pt x="464" y="740"/>
                    </a:lnTo>
                    <a:lnTo>
                      <a:pt x="500" y="726"/>
                    </a:lnTo>
                    <a:lnTo>
                      <a:pt x="536" y="705"/>
                    </a:lnTo>
                    <a:lnTo>
                      <a:pt x="569" y="681"/>
                    </a:lnTo>
                    <a:lnTo>
                      <a:pt x="589" y="660"/>
                    </a:lnTo>
                    <a:lnTo>
                      <a:pt x="606" y="638"/>
                    </a:lnTo>
                    <a:lnTo>
                      <a:pt x="618" y="616"/>
                    </a:lnTo>
                    <a:lnTo>
                      <a:pt x="627" y="594"/>
                    </a:lnTo>
                    <a:lnTo>
                      <a:pt x="631" y="573"/>
                    </a:lnTo>
                    <a:lnTo>
                      <a:pt x="628" y="552"/>
                    </a:lnTo>
                    <a:lnTo>
                      <a:pt x="618" y="529"/>
                    </a:lnTo>
                    <a:lnTo>
                      <a:pt x="605" y="506"/>
                    </a:lnTo>
                    <a:lnTo>
                      <a:pt x="585" y="484"/>
                    </a:lnTo>
                    <a:lnTo>
                      <a:pt x="563" y="460"/>
                    </a:lnTo>
                    <a:lnTo>
                      <a:pt x="538" y="441"/>
                    </a:lnTo>
                    <a:lnTo>
                      <a:pt x="511" y="423"/>
                    </a:lnTo>
                    <a:lnTo>
                      <a:pt x="483" y="409"/>
                    </a:lnTo>
                    <a:lnTo>
                      <a:pt x="456" y="399"/>
                    </a:lnTo>
                    <a:lnTo>
                      <a:pt x="427" y="394"/>
                    </a:lnTo>
                    <a:lnTo>
                      <a:pt x="396" y="393"/>
                    </a:lnTo>
                    <a:close/>
                    <a:moveTo>
                      <a:pt x="607" y="0"/>
                    </a:moveTo>
                    <a:lnTo>
                      <a:pt x="624" y="5"/>
                    </a:lnTo>
                    <a:lnTo>
                      <a:pt x="636" y="16"/>
                    </a:lnTo>
                    <a:lnTo>
                      <a:pt x="643" y="33"/>
                    </a:lnTo>
                    <a:lnTo>
                      <a:pt x="660" y="88"/>
                    </a:lnTo>
                    <a:lnTo>
                      <a:pt x="679" y="136"/>
                    </a:lnTo>
                    <a:lnTo>
                      <a:pt x="702" y="179"/>
                    </a:lnTo>
                    <a:lnTo>
                      <a:pt x="727" y="218"/>
                    </a:lnTo>
                    <a:lnTo>
                      <a:pt x="756" y="251"/>
                    </a:lnTo>
                    <a:lnTo>
                      <a:pt x="785" y="278"/>
                    </a:lnTo>
                    <a:lnTo>
                      <a:pt x="815" y="302"/>
                    </a:lnTo>
                    <a:lnTo>
                      <a:pt x="847" y="321"/>
                    </a:lnTo>
                    <a:lnTo>
                      <a:pt x="880" y="337"/>
                    </a:lnTo>
                    <a:lnTo>
                      <a:pt x="912" y="350"/>
                    </a:lnTo>
                    <a:lnTo>
                      <a:pt x="942" y="359"/>
                    </a:lnTo>
                    <a:lnTo>
                      <a:pt x="973" y="366"/>
                    </a:lnTo>
                    <a:lnTo>
                      <a:pt x="1001" y="372"/>
                    </a:lnTo>
                    <a:lnTo>
                      <a:pt x="1028" y="375"/>
                    </a:lnTo>
                    <a:lnTo>
                      <a:pt x="1051" y="376"/>
                    </a:lnTo>
                    <a:lnTo>
                      <a:pt x="1073" y="377"/>
                    </a:lnTo>
                    <a:lnTo>
                      <a:pt x="1110" y="376"/>
                    </a:lnTo>
                    <a:lnTo>
                      <a:pt x="1149" y="372"/>
                    </a:lnTo>
                    <a:lnTo>
                      <a:pt x="1188" y="364"/>
                    </a:lnTo>
                    <a:lnTo>
                      <a:pt x="1226" y="354"/>
                    </a:lnTo>
                    <a:lnTo>
                      <a:pt x="1265" y="340"/>
                    </a:lnTo>
                    <a:lnTo>
                      <a:pt x="1302" y="322"/>
                    </a:lnTo>
                    <a:lnTo>
                      <a:pt x="1338" y="300"/>
                    </a:lnTo>
                    <a:lnTo>
                      <a:pt x="1371" y="275"/>
                    </a:lnTo>
                    <a:lnTo>
                      <a:pt x="1401" y="246"/>
                    </a:lnTo>
                    <a:lnTo>
                      <a:pt x="1430" y="213"/>
                    </a:lnTo>
                    <a:lnTo>
                      <a:pt x="1454" y="176"/>
                    </a:lnTo>
                    <a:lnTo>
                      <a:pt x="1474" y="133"/>
                    </a:lnTo>
                    <a:lnTo>
                      <a:pt x="1491" y="87"/>
                    </a:lnTo>
                    <a:lnTo>
                      <a:pt x="1502" y="36"/>
                    </a:lnTo>
                    <a:lnTo>
                      <a:pt x="1507" y="19"/>
                    </a:lnTo>
                    <a:lnTo>
                      <a:pt x="1520" y="8"/>
                    </a:lnTo>
                    <a:lnTo>
                      <a:pt x="1535" y="0"/>
                    </a:lnTo>
                    <a:lnTo>
                      <a:pt x="1551" y="0"/>
                    </a:lnTo>
                    <a:lnTo>
                      <a:pt x="1568" y="5"/>
                    </a:lnTo>
                    <a:lnTo>
                      <a:pt x="1580" y="16"/>
                    </a:lnTo>
                    <a:lnTo>
                      <a:pt x="1587" y="31"/>
                    </a:lnTo>
                    <a:lnTo>
                      <a:pt x="1587" y="49"/>
                    </a:lnTo>
                    <a:lnTo>
                      <a:pt x="1576" y="102"/>
                    </a:lnTo>
                    <a:lnTo>
                      <a:pt x="1561" y="150"/>
                    </a:lnTo>
                    <a:lnTo>
                      <a:pt x="1542" y="195"/>
                    </a:lnTo>
                    <a:lnTo>
                      <a:pt x="1518" y="237"/>
                    </a:lnTo>
                    <a:lnTo>
                      <a:pt x="1492" y="274"/>
                    </a:lnTo>
                    <a:lnTo>
                      <a:pt x="1462" y="308"/>
                    </a:lnTo>
                    <a:lnTo>
                      <a:pt x="1430" y="339"/>
                    </a:lnTo>
                    <a:lnTo>
                      <a:pt x="1394" y="366"/>
                    </a:lnTo>
                    <a:lnTo>
                      <a:pt x="1488" y="437"/>
                    </a:lnTo>
                    <a:lnTo>
                      <a:pt x="1495" y="442"/>
                    </a:lnTo>
                    <a:lnTo>
                      <a:pt x="1502" y="449"/>
                    </a:lnTo>
                    <a:lnTo>
                      <a:pt x="1533" y="412"/>
                    </a:lnTo>
                    <a:lnTo>
                      <a:pt x="1571" y="379"/>
                    </a:lnTo>
                    <a:lnTo>
                      <a:pt x="1611" y="351"/>
                    </a:lnTo>
                    <a:lnTo>
                      <a:pt x="1653" y="329"/>
                    </a:lnTo>
                    <a:lnTo>
                      <a:pt x="1695" y="315"/>
                    </a:lnTo>
                    <a:lnTo>
                      <a:pt x="1746" y="307"/>
                    </a:lnTo>
                    <a:lnTo>
                      <a:pt x="1797" y="307"/>
                    </a:lnTo>
                    <a:lnTo>
                      <a:pt x="1848" y="314"/>
                    </a:lnTo>
                    <a:lnTo>
                      <a:pt x="1897" y="326"/>
                    </a:lnTo>
                    <a:lnTo>
                      <a:pt x="1944" y="344"/>
                    </a:lnTo>
                    <a:lnTo>
                      <a:pt x="1988" y="366"/>
                    </a:lnTo>
                    <a:lnTo>
                      <a:pt x="2030" y="393"/>
                    </a:lnTo>
                    <a:lnTo>
                      <a:pt x="2067" y="420"/>
                    </a:lnTo>
                    <a:lnTo>
                      <a:pt x="2100" y="448"/>
                    </a:lnTo>
                    <a:lnTo>
                      <a:pt x="2127" y="477"/>
                    </a:lnTo>
                    <a:lnTo>
                      <a:pt x="2149" y="506"/>
                    </a:lnTo>
                    <a:lnTo>
                      <a:pt x="2165" y="532"/>
                    </a:lnTo>
                    <a:lnTo>
                      <a:pt x="2169" y="547"/>
                    </a:lnTo>
                    <a:lnTo>
                      <a:pt x="2172" y="563"/>
                    </a:lnTo>
                    <a:lnTo>
                      <a:pt x="2172" y="584"/>
                    </a:lnTo>
                    <a:lnTo>
                      <a:pt x="2166" y="608"/>
                    </a:lnTo>
                    <a:lnTo>
                      <a:pt x="2154" y="632"/>
                    </a:lnTo>
                    <a:lnTo>
                      <a:pt x="2130" y="664"/>
                    </a:lnTo>
                    <a:lnTo>
                      <a:pt x="2098" y="696"/>
                    </a:lnTo>
                    <a:lnTo>
                      <a:pt x="2061" y="725"/>
                    </a:lnTo>
                    <a:lnTo>
                      <a:pt x="2020" y="754"/>
                    </a:lnTo>
                    <a:lnTo>
                      <a:pt x="1974" y="778"/>
                    </a:lnTo>
                    <a:lnTo>
                      <a:pt x="1928" y="800"/>
                    </a:lnTo>
                    <a:lnTo>
                      <a:pt x="1879" y="817"/>
                    </a:lnTo>
                    <a:lnTo>
                      <a:pt x="1833" y="829"/>
                    </a:lnTo>
                    <a:lnTo>
                      <a:pt x="1788" y="835"/>
                    </a:lnTo>
                    <a:lnTo>
                      <a:pt x="1770" y="836"/>
                    </a:lnTo>
                    <a:lnTo>
                      <a:pt x="1722" y="832"/>
                    </a:lnTo>
                    <a:lnTo>
                      <a:pt x="1674" y="821"/>
                    </a:lnTo>
                    <a:lnTo>
                      <a:pt x="1629" y="802"/>
                    </a:lnTo>
                    <a:lnTo>
                      <a:pt x="1584" y="777"/>
                    </a:lnTo>
                    <a:lnTo>
                      <a:pt x="1544" y="745"/>
                    </a:lnTo>
                    <a:lnTo>
                      <a:pt x="1525" y="726"/>
                    </a:lnTo>
                    <a:lnTo>
                      <a:pt x="1509" y="707"/>
                    </a:lnTo>
                    <a:lnTo>
                      <a:pt x="1487" y="849"/>
                    </a:lnTo>
                    <a:lnTo>
                      <a:pt x="3218" y="849"/>
                    </a:lnTo>
                    <a:lnTo>
                      <a:pt x="3223" y="850"/>
                    </a:lnTo>
                    <a:lnTo>
                      <a:pt x="3230" y="849"/>
                    </a:lnTo>
                    <a:lnTo>
                      <a:pt x="3302" y="849"/>
                    </a:lnTo>
                    <a:lnTo>
                      <a:pt x="3368" y="850"/>
                    </a:lnTo>
                    <a:lnTo>
                      <a:pt x="3426" y="853"/>
                    </a:lnTo>
                    <a:lnTo>
                      <a:pt x="3478" y="856"/>
                    </a:lnTo>
                    <a:lnTo>
                      <a:pt x="3524" y="861"/>
                    </a:lnTo>
                    <a:lnTo>
                      <a:pt x="3564" y="868"/>
                    </a:lnTo>
                    <a:lnTo>
                      <a:pt x="3599" y="875"/>
                    </a:lnTo>
                    <a:lnTo>
                      <a:pt x="3631" y="883"/>
                    </a:lnTo>
                    <a:lnTo>
                      <a:pt x="3659" y="891"/>
                    </a:lnTo>
                    <a:lnTo>
                      <a:pt x="3683" y="901"/>
                    </a:lnTo>
                    <a:lnTo>
                      <a:pt x="3704" y="911"/>
                    </a:lnTo>
                    <a:lnTo>
                      <a:pt x="3723" y="922"/>
                    </a:lnTo>
                    <a:lnTo>
                      <a:pt x="3741" y="933"/>
                    </a:lnTo>
                    <a:lnTo>
                      <a:pt x="3758" y="944"/>
                    </a:lnTo>
                    <a:lnTo>
                      <a:pt x="3774" y="955"/>
                    </a:lnTo>
                    <a:lnTo>
                      <a:pt x="3791" y="966"/>
                    </a:lnTo>
                    <a:lnTo>
                      <a:pt x="3841" y="1003"/>
                    </a:lnTo>
                    <a:lnTo>
                      <a:pt x="3880" y="1042"/>
                    </a:lnTo>
                    <a:lnTo>
                      <a:pt x="3914" y="1082"/>
                    </a:lnTo>
                    <a:lnTo>
                      <a:pt x="3940" y="1123"/>
                    </a:lnTo>
                    <a:lnTo>
                      <a:pt x="3959" y="1166"/>
                    </a:lnTo>
                    <a:lnTo>
                      <a:pt x="3971" y="1208"/>
                    </a:lnTo>
                    <a:lnTo>
                      <a:pt x="3980" y="1253"/>
                    </a:lnTo>
                    <a:lnTo>
                      <a:pt x="3982" y="1297"/>
                    </a:lnTo>
                    <a:lnTo>
                      <a:pt x="3982" y="1342"/>
                    </a:lnTo>
                    <a:lnTo>
                      <a:pt x="3978" y="1386"/>
                    </a:lnTo>
                    <a:lnTo>
                      <a:pt x="3971" y="1430"/>
                    </a:lnTo>
                    <a:lnTo>
                      <a:pt x="3962" y="1474"/>
                    </a:lnTo>
                    <a:lnTo>
                      <a:pt x="3951" y="1517"/>
                    </a:lnTo>
                    <a:lnTo>
                      <a:pt x="3940" y="1560"/>
                    </a:lnTo>
                    <a:lnTo>
                      <a:pt x="3929" y="1600"/>
                    </a:lnTo>
                    <a:lnTo>
                      <a:pt x="3916" y="1641"/>
                    </a:lnTo>
                    <a:lnTo>
                      <a:pt x="3905" y="1683"/>
                    </a:lnTo>
                    <a:lnTo>
                      <a:pt x="3896" y="1721"/>
                    </a:lnTo>
                    <a:lnTo>
                      <a:pt x="3889" y="1760"/>
                    </a:lnTo>
                    <a:lnTo>
                      <a:pt x="3883" y="1796"/>
                    </a:lnTo>
                    <a:lnTo>
                      <a:pt x="3883" y="1830"/>
                    </a:lnTo>
                    <a:lnTo>
                      <a:pt x="3886" y="1862"/>
                    </a:lnTo>
                    <a:lnTo>
                      <a:pt x="3894" y="1891"/>
                    </a:lnTo>
                    <a:lnTo>
                      <a:pt x="3897" y="1907"/>
                    </a:lnTo>
                    <a:lnTo>
                      <a:pt x="3894" y="1924"/>
                    </a:lnTo>
                    <a:lnTo>
                      <a:pt x="3885" y="1937"/>
                    </a:lnTo>
                    <a:lnTo>
                      <a:pt x="3869" y="1947"/>
                    </a:lnTo>
                    <a:lnTo>
                      <a:pt x="3863" y="1950"/>
                    </a:lnTo>
                    <a:lnTo>
                      <a:pt x="3854" y="1950"/>
                    </a:lnTo>
                    <a:lnTo>
                      <a:pt x="3838" y="1947"/>
                    </a:lnTo>
                    <a:lnTo>
                      <a:pt x="3824" y="1937"/>
                    </a:lnTo>
                    <a:lnTo>
                      <a:pt x="3814" y="1922"/>
                    </a:lnTo>
                    <a:lnTo>
                      <a:pt x="3802" y="1884"/>
                    </a:lnTo>
                    <a:lnTo>
                      <a:pt x="3796" y="1844"/>
                    </a:lnTo>
                    <a:lnTo>
                      <a:pt x="3796" y="1801"/>
                    </a:lnTo>
                    <a:lnTo>
                      <a:pt x="3801" y="1758"/>
                    </a:lnTo>
                    <a:lnTo>
                      <a:pt x="3809" y="1714"/>
                    </a:lnTo>
                    <a:lnTo>
                      <a:pt x="3818" y="1669"/>
                    </a:lnTo>
                    <a:lnTo>
                      <a:pt x="3831" y="1623"/>
                    </a:lnTo>
                    <a:lnTo>
                      <a:pt x="3845" y="1576"/>
                    </a:lnTo>
                    <a:lnTo>
                      <a:pt x="3857" y="1534"/>
                    </a:lnTo>
                    <a:lnTo>
                      <a:pt x="3868" y="1491"/>
                    </a:lnTo>
                    <a:lnTo>
                      <a:pt x="3879" y="1448"/>
                    </a:lnTo>
                    <a:lnTo>
                      <a:pt x="3887" y="1407"/>
                    </a:lnTo>
                    <a:lnTo>
                      <a:pt x="3894" y="1366"/>
                    </a:lnTo>
                    <a:lnTo>
                      <a:pt x="3897" y="1326"/>
                    </a:lnTo>
                    <a:lnTo>
                      <a:pt x="3897" y="1286"/>
                    </a:lnTo>
                    <a:lnTo>
                      <a:pt x="3892" y="1247"/>
                    </a:lnTo>
                    <a:lnTo>
                      <a:pt x="3882" y="1210"/>
                    </a:lnTo>
                    <a:lnTo>
                      <a:pt x="3867" y="1173"/>
                    </a:lnTo>
                    <a:lnTo>
                      <a:pt x="3846" y="1137"/>
                    </a:lnTo>
                    <a:lnTo>
                      <a:pt x="3818" y="1102"/>
                    </a:lnTo>
                    <a:lnTo>
                      <a:pt x="3784" y="1069"/>
                    </a:lnTo>
                    <a:lnTo>
                      <a:pt x="3743" y="1038"/>
                    </a:lnTo>
                    <a:lnTo>
                      <a:pt x="3725" y="1027"/>
                    </a:lnTo>
                    <a:lnTo>
                      <a:pt x="3708" y="1014"/>
                    </a:lnTo>
                    <a:lnTo>
                      <a:pt x="3690" y="1003"/>
                    </a:lnTo>
                    <a:lnTo>
                      <a:pt x="3670" y="992"/>
                    </a:lnTo>
                    <a:lnTo>
                      <a:pt x="3648" y="981"/>
                    </a:lnTo>
                    <a:lnTo>
                      <a:pt x="3623" y="971"/>
                    </a:lnTo>
                    <a:lnTo>
                      <a:pt x="3592" y="962"/>
                    </a:lnTo>
                    <a:lnTo>
                      <a:pt x="3557" y="955"/>
                    </a:lnTo>
                    <a:lnTo>
                      <a:pt x="3515" y="948"/>
                    </a:lnTo>
                    <a:lnTo>
                      <a:pt x="3467" y="942"/>
                    </a:lnTo>
                    <a:lnTo>
                      <a:pt x="3409" y="938"/>
                    </a:lnTo>
                    <a:lnTo>
                      <a:pt x="3439" y="966"/>
                    </a:lnTo>
                    <a:lnTo>
                      <a:pt x="3467" y="996"/>
                    </a:lnTo>
                    <a:lnTo>
                      <a:pt x="3492" y="1027"/>
                    </a:lnTo>
                    <a:lnTo>
                      <a:pt x="3514" y="1057"/>
                    </a:lnTo>
                    <a:lnTo>
                      <a:pt x="3532" y="1086"/>
                    </a:lnTo>
                    <a:lnTo>
                      <a:pt x="3548" y="1113"/>
                    </a:lnTo>
                    <a:lnTo>
                      <a:pt x="3561" y="1138"/>
                    </a:lnTo>
                    <a:lnTo>
                      <a:pt x="3572" y="1160"/>
                    </a:lnTo>
                    <a:lnTo>
                      <a:pt x="3580" y="1177"/>
                    </a:lnTo>
                    <a:lnTo>
                      <a:pt x="3584" y="1188"/>
                    </a:lnTo>
                    <a:lnTo>
                      <a:pt x="3587" y="1193"/>
                    </a:lnTo>
                    <a:lnTo>
                      <a:pt x="3594" y="1217"/>
                    </a:lnTo>
                    <a:lnTo>
                      <a:pt x="3599" y="1243"/>
                    </a:lnTo>
                    <a:lnTo>
                      <a:pt x="3603" y="1269"/>
                    </a:lnTo>
                    <a:lnTo>
                      <a:pt x="3605" y="1292"/>
                    </a:lnTo>
                    <a:lnTo>
                      <a:pt x="3620" y="2294"/>
                    </a:lnTo>
                    <a:lnTo>
                      <a:pt x="3620" y="2316"/>
                    </a:lnTo>
                    <a:lnTo>
                      <a:pt x="3619" y="2341"/>
                    </a:lnTo>
                    <a:lnTo>
                      <a:pt x="3616" y="2366"/>
                    </a:lnTo>
                    <a:lnTo>
                      <a:pt x="3613" y="2388"/>
                    </a:lnTo>
                    <a:lnTo>
                      <a:pt x="3503" y="3050"/>
                    </a:lnTo>
                    <a:lnTo>
                      <a:pt x="3495" y="3074"/>
                    </a:lnTo>
                    <a:lnTo>
                      <a:pt x="3479" y="3097"/>
                    </a:lnTo>
                    <a:lnTo>
                      <a:pt x="3459" y="3114"/>
                    </a:lnTo>
                    <a:lnTo>
                      <a:pt x="3435" y="3125"/>
                    </a:lnTo>
                    <a:lnTo>
                      <a:pt x="3409" y="3128"/>
                    </a:lnTo>
                    <a:lnTo>
                      <a:pt x="2902" y="3128"/>
                    </a:lnTo>
                    <a:lnTo>
                      <a:pt x="2879" y="3125"/>
                    </a:lnTo>
                    <a:lnTo>
                      <a:pt x="2858" y="3117"/>
                    </a:lnTo>
                    <a:lnTo>
                      <a:pt x="2840" y="3103"/>
                    </a:lnTo>
                    <a:lnTo>
                      <a:pt x="2826" y="3086"/>
                    </a:lnTo>
                    <a:lnTo>
                      <a:pt x="2818" y="3065"/>
                    </a:lnTo>
                    <a:lnTo>
                      <a:pt x="2815" y="3041"/>
                    </a:lnTo>
                    <a:lnTo>
                      <a:pt x="2815" y="2543"/>
                    </a:lnTo>
                    <a:lnTo>
                      <a:pt x="2760" y="2549"/>
                    </a:lnTo>
                    <a:lnTo>
                      <a:pt x="2705" y="2552"/>
                    </a:lnTo>
                    <a:lnTo>
                      <a:pt x="2659" y="2551"/>
                    </a:lnTo>
                    <a:lnTo>
                      <a:pt x="2615" y="2545"/>
                    </a:lnTo>
                    <a:lnTo>
                      <a:pt x="2615" y="2628"/>
                    </a:lnTo>
                    <a:lnTo>
                      <a:pt x="2611" y="2646"/>
                    </a:lnTo>
                    <a:lnTo>
                      <a:pt x="2603" y="2660"/>
                    </a:lnTo>
                    <a:lnTo>
                      <a:pt x="2589" y="2668"/>
                    </a:lnTo>
                    <a:lnTo>
                      <a:pt x="2571" y="2672"/>
                    </a:lnTo>
                    <a:lnTo>
                      <a:pt x="2555" y="2668"/>
                    </a:lnTo>
                    <a:lnTo>
                      <a:pt x="2541" y="2660"/>
                    </a:lnTo>
                    <a:lnTo>
                      <a:pt x="2531" y="2646"/>
                    </a:lnTo>
                    <a:lnTo>
                      <a:pt x="2528" y="2628"/>
                    </a:lnTo>
                    <a:lnTo>
                      <a:pt x="2528" y="2527"/>
                    </a:lnTo>
                    <a:lnTo>
                      <a:pt x="2476" y="2509"/>
                    </a:lnTo>
                    <a:lnTo>
                      <a:pt x="2428" y="2487"/>
                    </a:lnTo>
                    <a:lnTo>
                      <a:pt x="2382" y="2461"/>
                    </a:lnTo>
                    <a:lnTo>
                      <a:pt x="2342" y="2432"/>
                    </a:lnTo>
                    <a:lnTo>
                      <a:pt x="2342" y="2494"/>
                    </a:lnTo>
                    <a:lnTo>
                      <a:pt x="2338" y="2512"/>
                    </a:lnTo>
                    <a:lnTo>
                      <a:pt x="2329" y="2526"/>
                    </a:lnTo>
                    <a:lnTo>
                      <a:pt x="2315" y="2534"/>
                    </a:lnTo>
                    <a:lnTo>
                      <a:pt x="2298" y="2538"/>
                    </a:lnTo>
                    <a:lnTo>
                      <a:pt x="2282" y="2534"/>
                    </a:lnTo>
                    <a:lnTo>
                      <a:pt x="2268" y="2526"/>
                    </a:lnTo>
                    <a:lnTo>
                      <a:pt x="2258" y="2512"/>
                    </a:lnTo>
                    <a:lnTo>
                      <a:pt x="2256" y="2494"/>
                    </a:lnTo>
                    <a:lnTo>
                      <a:pt x="2256" y="2352"/>
                    </a:lnTo>
                    <a:lnTo>
                      <a:pt x="2254" y="2341"/>
                    </a:lnTo>
                    <a:lnTo>
                      <a:pt x="2249" y="2328"/>
                    </a:lnTo>
                    <a:lnTo>
                      <a:pt x="2242" y="2311"/>
                    </a:lnTo>
                    <a:lnTo>
                      <a:pt x="2234" y="2293"/>
                    </a:lnTo>
                    <a:lnTo>
                      <a:pt x="2227" y="2274"/>
                    </a:lnTo>
                    <a:lnTo>
                      <a:pt x="2218" y="2256"/>
                    </a:lnTo>
                    <a:lnTo>
                      <a:pt x="2214" y="2239"/>
                    </a:lnTo>
                    <a:lnTo>
                      <a:pt x="1922" y="2239"/>
                    </a:lnTo>
                    <a:lnTo>
                      <a:pt x="1921" y="2241"/>
                    </a:lnTo>
                    <a:lnTo>
                      <a:pt x="1919" y="2242"/>
                    </a:lnTo>
                    <a:lnTo>
                      <a:pt x="1919" y="2243"/>
                    </a:lnTo>
                    <a:lnTo>
                      <a:pt x="1860" y="3040"/>
                    </a:lnTo>
                    <a:lnTo>
                      <a:pt x="1855" y="3063"/>
                    </a:lnTo>
                    <a:lnTo>
                      <a:pt x="1845" y="3083"/>
                    </a:lnTo>
                    <a:lnTo>
                      <a:pt x="1831" y="3099"/>
                    </a:lnTo>
                    <a:lnTo>
                      <a:pt x="1813" y="3113"/>
                    </a:lnTo>
                    <a:lnTo>
                      <a:pt x="1793" y="3121"/>
                    </a:lnTo>
                    <a:lnTo>
                      <a:pt x="1769" y="3124"/>
                    </a:lnTo>
                    <a:lnTo>
                      <a:pt x="1273" y="3124"/>
                    </a:lnTo>
                    <a:lnTo>
                      <a:pt x="1250" y="3121"/>
                    </a:lnTo>
                    <a:lnTo>
                      <a:pt x="1229" y="3113"/>
                    </a:lnTo>
                    <a:lnTo>
                      <a:pt x="1211" y="3099"/>
                    </a:lnTo>
                    <a:lnTo>
                      <a:pt x="1197" y="3083"/>
                    </a:lnTo>
                    <a:lnTo>
                      <a:pt x="1188" y="3062"/>
                    </a:lnTo>
                    <a:lnTo>
                      <a:pt x="1182" y="3040"/>
                    </a:lnTo>
                    <a:lnTo>
                      <a:pt x="1124" y="2181"/>
                    </a:lnTo>
                    <a:lnTo>
                      <a:pt x="1087" y="2158"/>
                    </a:lnTo>
                    <a:lnTo>
                      <a:pt x="1050" y="2129"/>
                    </a:lnTo>
                    <a:lnTo>
                      <a:pt x="1014" y="2096"/>
                    </a:lnTo>
                    <a:lnTo>
                      <a:pt x="981" y="2059"/>
                    </a:lnTo>
                    <a:lnTo>
                      <a:pt x="950" y="2016"/>
                    </a:lnTo>
                    <a:lnTo>
                      <a:pt x="927" y="1972"/>
                    </a:lnTo>
                    <a:lnTo>
                      <a:pt x="908" y="1926"/>
                    </a:lnTo>
                    <a:lnTo>
                      <a:pt x="893" y="1881"/>
                    </a:lnTo>
                    <a:lnTo>
                      <a:pt x="882" y="1836"/>
                    </a:lnTo>
                    <a:lnTo>
                      <a:pt x="875" y="1793"/>
                    </a:lnTo>
                    <a:lnTo>
                      <a:pt x="871" y="1751"/>
                    </a:lnTo>
                    <a:lnTo>
                      <a:pt x="869" y="1713"/>
                    </a:lnTo>
                    <a:lnTo>
                      <a:pt x="869" y="1678"/>
                    </a:lnTo>
                    <a:lnTo>
                      <a:pt x="871" y="1648"/>
                    </a:lnTo>
                    <a:lnTo>
                      <a:pt x="811" y="1633"/>
                    </a:lnTo>
                    <a:lnTo>
                      <a:pt x="756" y="1612"/>
                    </a:lnTo>
                    <a:lnTo>
                      <a:pt x="707" y="1589"/>
                    </a:lnTo>
                    <a:lnTo>
                      <a:pt x="662" y="1563"/>
                    </a:lnTo>
                    <a:lnTo>
                      <a:pt x="622" y="1534"/>
                    </a:lnTo>
                    <a:lnTo>
                      <a:pt x="589" y="1501"/>
                    </a:lnTo>
                    <a:lnTo>
                      <a:pt x="563" y="1466"/>
                    </a:lnTo>
                    <a:lnTo>
                      <a:pt x="544" y="1429"/>
                    </a:lnTo>
                    <a:lnTo>
                      <a:pt x="532" y="1390"/>
                    </a:lnTo>
                    <a:lnTo>
                      <a:pt x="527" y="1350"/>
                    </a:lnTo>
                    <a:lnTo>
                      <a:pt x="530" y="1323"/>
                    </a:lnTo>
                    <a:lnTo>
                      <a:pt x="538" y="1298"/>
                    </a:lnTo>
                    <a:lnTo>
                      <a:pt x="551" y="1276"/>
                    </a:lnTo>
                    <a:lnTo>
                      <a:pt x="569" y="1255"/>
                    </a:lnTo>
                    <a:lnTo>
                      <a:pt x="588" y="1236"/>
                    </a:lnTo>
                    <a:lnTo>
                      <a:pt x="611" y="1218"/>
                    </a:lnTo>
                    <a:lnTo>
                      <a:pt x="636" y="1202"/>
                    </a:lnTo>
                    <a:lnTo>
                      <a:pt x="661" y="1186"/>
                    </a:lnTo>
                    <a:lnTo>
                      <a:pt x="687" y="1170"/>
                    </a:lnTo>
                    <a:lnTo>
                      <a:pt x="702" y="1162"/>
                    </a:lnTo>
                    <a:lnTo>
                      <a:pt x="698" y="1152"/>
                    </a:lnTo>
                    <a:lnTo>
                      <a:pt x="697" y="1141"/>
                    </a:lnTo>
                    <a:lnTo>
                      <a:pt x="651" y="721"/>
                    </a:lnTo>
                    <a:lnTo>
                      <a:pt x="627" y="745"/>
                    </a:lnTo>
                    <a:lnTo>
                      <a:pt x="587" y="777"/>
                    </a:lnTo>
                    <a:lnTo>
                      <a:pt x="543" y="802"/>
                    </a:lnTo>
                    <a:lnTo>
                      <a:pt x="497" y="821"/>
                    </a:lnTo>
                    <a:lnTo>
                      <a:pt x="449" y="832"/>
                    </a:lnTo>
                    <a:lnTo>
                      <a:pt x="401" y="836"/>
                    </a:lnTo>
                    <a:lnTo>
                      <a:pt x="383" y="835"/>
                    </a:lnTo>
                    <a:lnTo>
                      <a:pt x="339" y="829"/>
                    </a:lnTo>
                    <a:lnTo>
                      <a:pt x="292" y="817"/>
                    </a:lnTo>
                    <a:lnTo>
                      <a:pt x="243" y="800"/>
                    </a:lnTo>
                    <a:lnTo>
                      <a:pt x="197" y="778"/>
                    </a:lnTo>
                    <a:lnTo>
                      <a:pt x="151" y="754"/>
                    </a:lnTo>
                    <a:lnTo>
                      <a:pt x="110" y="725"/>
                    </a:lnTo>
                    <a:lnTo>
                      <a:pt x="73" y="696"/>
                    </a:lnTo>
                    <a:lnTo>
                      <a:pt x="41" y="664"/>
                    </a:lnTo>
                    <a:lnTo>
                      <a:pt x="19" y="632"/>
                    </a:lnTo>
                    <a:lnTo>
                      <a:pt x="6" y="608"/>
                    </a:lnTo>
                    <a:lnTo>
                      <a:pt x="0" y="584"/>
                    </a:lnTo>
                    <a:lnTo>
                      <a:pt x="0" y="563"/>
                    </a:lnTo>
                    <a:lnTo>
                      <a:pt x="2" y="547"/>
                    </a:lnTo>
                    <a:lnTo>
                      <a:pt x="6" y="532"/>
                    </a:lnTo>
                    <a:lnTo>
                      <a:pt x="22" y="506"/>
                    </a:lnTo>
                    <a:lnTo>
                      <a:pt x="44" y="477"/>
                    </a:lnTo>
                    <a:lnTo>
                      <a:pt x="71" y="448"/>
                    </a:lnTo>
                    <a:lnTo>
                      <a:pt x="104" y="420"/>
                    </a:lnTo>
                    <a:lnTo>
                      <a:pt x="141" y="393"/>
                    </a:lnTo>
                    <a:lnTo>
                      <a:pt x="183" y="366"/>
                    </a:lnTo>
                    <a:lnTo>
                      <a:pt x="227" y="344"/>
                    </a:lnTo>
                    <a:lnTo>
                      <a:pt x="274" y="326"/>
                    </a:lnTo>
                    <a:lnTo>
                      <a:pt x="323" y="314"/>
                    </a:lnTo>
                    <a:lnTo>
                      <a:pt x="374" y="307"/>
                    </a:lnTo>
                    <a:lnTo>
                      <a:pt x="425" y="307"/>
                    </a:lnTo>
                    <a:lnTo>
                      <a:pt x="476" y="315"/>
                    </a:lnTo>
                    <a:lnTo>
                      <a:pt x="516" y="329"/>
                    </a:lnTo>
                    <a:lnTo>
                      <a:pt x="558" y="350"/>
                    </a:lnTo>
                    <a:lnTo>
                      <a:pt x="598" y="376"/>
                    </a:lnTo>
                    <a:lnTo>
                      <a:pt x="633" y="408"/>
                    </a:lnTo>
                    <a:lnTo>
                      <a:pt x="667" y="444"/>
                    </a:lnTo>
                    <a:lnTo>
                      <a:pt x="671" y="439"/>
                    </a:lnTo>
                    <a:lnTo>
                      <a:pt x="676" y="434"/>
                    </a:lnTo>
                    <a:lnTo>
                      <a:pt x="758" y="366"/>
                    </a:lnTo>
                    <a:lnTo>
                      <a:pt x="712" y="328"/>
                    </a:lnTo>
                    <a:lnTo>
                      <a:pt x="671" y="284"/>
                    </a:lnTo>
                    <a:lnTo>
                      <a:pt x="635" y="234"/>
                    </a:lnTo>
                    <a:lnTo>
                      <a:pt x="603" y="179"/>
                    </a:lnTo>
                    <a:lnTo>
                      <a:pt x="578" y="118"/>
                    </a:lnTo>
                    <a:lnTo>
                      <a:pt x="559" y="54"/>
                    </a:lnTo>
                    <a:lnTo>
                      <a:pt x="558" y="36"/>
                    </a:lnTo>
                    <a:lnTo>
                      <a:pt x="563" y="20"/>
                    </a:lnTo>
                    <a:lnTo>
                      <a:pt x="574" y="8"/>
                    </a:lnTo>
                    <a:lnTo>
                      <a:pt x="591" y="0"/>
                    </a:lnTo>
                    <a:lnTo>
                      <a:pt x="607" y="0"/>
                    </a:lnTo>
                    <a:close/>
                  </a:path>
                </a:pathLst>
              </a:custGeom>
              <a:solidFill>
                <a:srgbClr val="58595B"/>
              </a:solidFill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93" name="Freeform 92"/>
              <p:cNvSpPr>
                <a:spLocks/>
              </p:cNvSpPr>
              <p:nvPr/>
            </p:nvSpPr>
            <p:spPr bwMode="auto">
              <a:xfrm>
                <a:off x="5631956" y="3222111"/>
                <a:ext cx="991795" cy="385134"/>
              </a:xfrm>
              <a:custGeom>
                <a:avLst/>
                <a:gdLst>
                  <a:gd name="connsiteX0" fmla="*/ 507580 w 991795"/>
                  <a:gd name="connsiteY0" fmla="*/ 121621 h 385134"/>
                  <a:gd name="connsiteX1" fmla="*/ 516601 w 991795"/>
                  <a:gd name="connsiteY1" fmla="*/ 122707 h 385134"/>
                  <a:gd name="connsiteX2" fmla="*/ 524180 w 991795"/>
                  <a:gd name="connsiteY2" fmla="*/ 125241 h 385134"/>
                  <a:gd name="connsiteX3" fmla="*/ 529593 w 991795"/>
                  <a:gd name="connsiteY3" fmla="*/ 129222 h 385134"/>
                  <a:gd name="connsiteX4" fmla="*/ 533923 w 991795"/>
                  <a:gd name="connsiteY4" fmla="*/ 134652 h 385134"/>
                  <a:gd name="connsiteX5" fmla="*/ 537171 w 991795"/>
                  <a:gd name="connsiteY5" fmla="*/ 141529 h 385134"/>
                  <a:gd name="connsiteX6" fmla="*/ 538975 w 991795"/>
                  <a:gd name="connsiteY6" fmla="*/ 150217 h 385134"/>
                  <a:gd name="connsiteX7" fmla="*/ 540058 w 991795"/>
                  <a:gd name="connsiteY7" fmla="*/ 159628 h 385134"/>
                  <a:gd name="connsiteX8" fmla="*/ 540058 w 991795"/>
                  <a:gd name="connsiteY8" fmla="*/ 170125 h 385134"/>
                  <a:gd name="connsiteX9" fmla="*/ 539336 w 991795"/>
                  <a:gd name="connsiteY9" fmla="*/ 180984 h 385134"/>
                  <a:gd name="connsiteX10" fmla="*/ 538614 w 991795"/>
                  <a:gd name="connsiteY10" fmla="*/ 193653 h 385134"/>
                  <a:gd name="connsiteX11" fmla="*/ 536449 w 991795"/>
                  <a:gd name="connsiteY11" fmla="*/ 206684 h 385134"/>
                  <a:gd name="connsiteX12" fmla="*/ 535006 w 991795"/>
                  <a:gd name="connsiteY12" fmla="*/ 220077 h 385134"/>
                  <a:gd name="connsiteX13" fmla="*/ 533201 w 991795"/>
                  <a:gd name="connsiteY13" fmla="*/ 234555 h 385134"/>
                  <a:gd name="connsiteX14" fmla="*/ 531036 w 991795"/>
                  <a:gd name="connsiteY14" fmla="*/ 249034 h 385134"/>
                  <a:gd name="connsiteX15" fmla="*/ 529593 w 991795"/>
                  <a:gd name="connsiteY15" fmla="*/ 263875 h 385134"/>
                  <a:gd name="connsiteX16" fmla="*/ 528149 w 991795"/>
                  <a:gd name="connsiteY16" fmla="*/ 278715 h 385134"/>
                  <a:gd name="connsiteX17" fmla="*/ 527066 w 991795"/>
                  <a:gd name="connsiteY17" fmla="*/ 293918 h 385134"/>
                  <a:gd name="connsiteX18" fmla="*/ 526706 w 991795"/>
                  <a:gd name="connsiteY18" fmla="*/ 308759 h 385134"/>
                  <a:gd name="connsiteX19" fmla="*/ 525984 w 991795"/>
                  <a:gd name="connsiteY19" fmla="*/ 324323 h 385134"/>
                  <a:gd name="connsiteX20" fmla="*/ 524180 w 991795"/>
                  <a:gd name="connsiteY20" fmla="*/ 337716 h 385134"/>
                  <a:gd name="connsiteX21" fmla="*/ 520932 w 991795"/>
                  <a:gd name="connsiteY21" fmla="*/ 349299 h 385134"/>
                  <a:gd name="connsiteX22" fmla="*/ 516962 w 991795"/>
                  <a:gd name="connsiteY22" fmla="*/ 358710 h 385134"/>
                  <a:gd name="connsiteX23" fmla="*/ 511549 w 991795"/>
                  <a:gd name="connsiteY23" fmla="*/ 366674 h 385134"/>
                  <a:gd name="connsiteX24" fmla="*/ 505775 w 991795"/>
                  <a:gd name="connsiteY24" fmla="*/ 373189 h 385134"/>
                  <a:gd name="connsiteX25" fmla="*/ 499280 w 991795"/>
                  <a:gd name="connsiteY25" fmla="*/ 377533 h 385134"/>
                  <a:gd name="connsiteX26" fmla="*/ 491340 w 991795"/>
                  <a:gd name="connsiteY26" fmla="*/ 381152 h 385134"/>
                  <a:gd name="connsiteX27" fmla="*/ 482680 w 991795"/>
                  <a:gd name="connsiteY27" fmla="*/ 383686 h 385134"/>
                  <a:gd name="connsiteX28" fmla="*/ 474019 w 991795"/>
                  <a:gd name="connsiteY28" fmla="*/ 384772 h 385134"/>
                  <a:gd name="connsiteX29" fmla="*/ 464275 w 991795"/>
                  <a:gd name="connsiteY29" fmla="*/ 385134 h 385134"/>
                  <a:gd name="connsiteX30" fmla="*/ 453810 w 991795"/>
                  <a:gd name="connsiteY30" fmla="*/ 385134 h 385134"/>
                  <a:gd name="connsiteX31" fmla="*/ 443345 w 991795"/>
                  <a:gd name="connsiteY31" fmla="*/ 384048 h 385134"/>
                  <a:gd name="connsiteX32" fmla="*/ 432158 w 991795"/>
                  <a:gd name="connsiteY32" fmla="*/ 382962 h 385134"/>
                  <a:gd name="connsiteX33" fmla="*/ 420610 w 991795"/>
                  <a:gd name="connsiteY33" fmla="*/ 381514 h 385134"/>
                  <a:gd name="connsiteX34" fmla="*/ 409062 w 991795"/>
                  <a:gd name="connsiteY34" fmla="*/ 380067 h 385134"/>
                  <a:gd name="connsiteX35" fmla="*/ 397154 w 991795"/>
                  <a:gd name="connsiteY35" fmla="*/ 378619 h 385134"/>
                  <a:gd name="connsiteX36" fmla="*/ 383801 w 991795"/>
                  <a:gd name="connsiteY36" fmla="*/ 376085 h 385134"/>
                  <a:gd name="connsiteX37" fmla="*/ 372254 w 991795"/>
                  <a:gd name="connsiteY37" fmla="*/ 372827 h 385134"/>
                  <a:gd name="connsiteX38" fmla="*/ 362871 w 991795"/>
                  <a:gd name="connsiteY38" fmla="*/ 368122 h 385134"/>
                  <a:gd name="connsiteX39" fmla="*/ 355654 w 991795"/>
                  <a:gd name="connsiteY39" fmla="*/ 362692 h 385134"/>
                  <a:gd name="connsiteX40" fmla="*/ 349158 w 991795"/>
                  <a:gd name="connsiteY40" fmla="*/ 356539 h 385134"/>
                  <a:gd name="connsiteX41" fmla="*/ 344106 w 991795"/>
                  <a:gd name="connsiteY41" fmla="*/ 350385 h 385134"/>
                  <a:gd name="connsiteX42" fmla="*/ 340136 w 991795"/>
                  <a:gd name="connsiteY42" fmla="*/ 343146 h 385134"/>
                  <a:gd name="connsiteX43" fmla="*/ 336527 w 991795"/>
                  <a:gd name="connsiteY43" fmla="*/ 335906 h 385134"/>
                  <a:gd name="connsiteX44" fmla="*/ 333641 w 991795"/>
                  <a:gd name="connsiteY44" fmla="*/ 328305 h 385134"/>
                  <a:gd name="connsiteX45" fmla="*/ 330754 w 991795"/>
                  <a:gd name="connsiteY45" fmla="*/ 320342 h 385134"/>
                  <a:gd name="connsiteX46" fmla="*/ 327506 w 991795"/>
                  <a:gd name="connsiteY46" fmla="*/ 312740 h 385134"/>
                  <a:gd name="connsiteX47" fmla="*/ 324619 w 991795"/>
                  <a:gd name="connsiteY47" fmla="*/ 305501 h 385134"/>
                  <a:gd name="connsiteX48" fmla="*/ 320649 w 991795"/>
                  <a:gd name="connsiteY48" fmla="*/ 298262 h 385134"/>
                  <a:gd name="connsiteX49" fmla="*/ 316319 w 991795"/>
                  <a:gd name="connsiteY49" fmla="*/ 291746 h 385134"/>
                  <a:gd name="connsiteX50" fmla="*/ 311267 w 991795"/>
                  <a:gd name="connsiteY50" fmla="*/ 284507 h 385134"/>
                  <a:gd name="connsiteX51" fmla="*/ 307297 w 991795"/>
                  <a:gd name="connsiteY51" fmla="*/ 278353 h 385134"/>
                  <a:gd name="connsiteX52" fmla="*/ 304410 w 991795"/>
                  <a:gd name="connsiteY52" fmla="*/ 272562 h 385134"/>
                  <a:gd name="connsiteX53" fmla="*/ 303327 w 991795"/>
                  <a:gd name="connsiteY53" fmla="*/ 266408 h 385134"/>
                  <a:gd name="connsiteX54" fmla="*/ 302606 w 991795"/>
                  <a:gd name="connsiteY54" fmla="*/ 260255 h 385134"/>
                  <a:gd name="connsiteX55" fmla="*/ 304410 w 991795"/>
                  <a:gd name="connsiteY55" fmla="*/ 254102 h 385134"/>
                  <a:gd name="connsiteX56" fmla="*/ 306575 w 991795"/>
                  <a:gd name="connsiteY56" fmla="*/ 246862 h 385134"/>
                  <a:gd name="connsiteX57" fmla="*/ 310906 w 991795"/>
                  <a:gd name="connsiteY57" fmla="*/ 238537 h 385134"/>
                  <a:gd name="connsiteX58" fmla="*/ 315597 w 991795"/>
                  <a:gd name="connsiteY58" fmla="*/ 229488 h 385134"/>
                  <a:gd name="connsiteX59" fmla="*/ 322093 w 991795"/>
                  <a:gd name="connsiteY59" fmla="*/ 218629 h 385134"/>
                  <a:gd name="connsiteX60" fmla="*/ 330032 w 991795"/>
                  <a:gd name="connsiteY60" fmla="*/ 205960 h 385134"/>
                  <a:gd name="connsiteX61" fmla="*/ 339414 w 991795"/>
                  <a:gd name="connsiteY61" fmla="*/ 191481 h 385134"/>
                  <a:gd name="connsiteX62" fmla="*/ 341219 w 991795"/>
                  <a:gd name="connsiteY62" fmla="*/ 191119 h 385134"/>
                  <a:gd name="connsiteX63" fmla="*/ 344106 w 991795"/>
                  <a:gd name="connsiteY63" fmla="*/ 188947 h 385134"/>
                  <a:gd name="connsiteX64" fmla="*/ 349158 w 991795"/>
                  <a:gd name="connsiteY64" fmla="*/ 186052 h 385134"/>
                  <a:gd name="connsiteX65" fmla="*/ 355654 w 991795"/>
                  <a:gd name="connsiteY65" fmla="*/ 181708 h 385134"/>
                  <a:gd name="connsiteX66" fmla="*/ 363954 w 991795"/>
                  <a:gd name="connsiteY66" fmla="*/ 176640 h 385134"/>
                  <a:gd name="connsiteX67" fmla="*/ 374058 w 991795"/>
                  <a:gd name="connsiteY67" fmla="*/ 171211 h 385134"/>
                  <a:gd name="connsiteX68" fmla="*/ 384884 w 991795"/>
                  <a:gd name="connsiteY68" fmla="*/ 165057 h 385134"/>
                  <a:gd name="connsiteX69" fmla="*/ 396793 w 991795"/>
                  <a:gd name="connsiteY69" fmla="*/ 159266 h 385134"/>
                  <a:gd name="connsiteX70" fmla="*/ 409784 w 991795"/>
                  <a:gd name="connsiteY70" fmla="*/ 152750 h 385134"/>
                  <a:gd name="connsiteX71" fmla="*/ 423136 w 991795"/>
                  <a:gd name="connsiteY71" fmla="*/ 146597 h 385134"/>
                  <a:gd name="connsiteX72" fmla="*/ 437571 w 991795"/>
                  <a:gd name="connsiteY72" fmla="*/ 140805 h 385134"/>
                  <a:gd name="connsiteX73" fmla="*/ 452006 w 991795"/>
                  <a:gd name="connsiteY73" fmla="*/ 135376 h 385134"/>
                  <a:gd name="connsiteX74" fmla="*/ 466801 w 991795"/>
                  <a:gd name="connsiteY74" fmla="*/ 130308 h 385134"/>
                  <a:gd name="connsiteX75" fmla="*/ 482319 w 991795"/>
                  <a:gd name="connsiteY75" fmla="*/ 126327 h 385134"/>
                  <a:gd name="connsiteX76" fmla="*/ 497114 w 991795"/>
                  <a:gd name="connsiteY76" fmla="*/ 122707 h 385134"/>
                  <a:gd name="connsiteX77" fmla="*/ 31853 w 991795"/>
                  <a:gd name="connsiteY77" fmla="*/ 115106 h 385134"/>
                  <a:gd name="connsiteX78" fmla="*/ 222611 w 991795"/>
                  <a:gd name="connsiteY78" fmla="*/ 115106 h 385134"/>
                  <a:gd name="connsiteX79" fmla="*/ 242881 w 991795"/>
                  <a:gd name="connsiteY79" fmla="*/ 125659 h 385134"/>
                  <a:gd name="connsiteX80" fmla="*/ 243605 w 991795"/>
                  <a:gd name="connsiteY80" fmla="*/ 125659 h 385134"/>
                  <a:gd name="connsiteX81" fmla="*/ 251568 w 991795"/>
                  <a:gd name="connsiteY81" fmla="*/ 129661 h 385134"/>
                  <a:gd name="connsiteX82" fmla="*/ 259893 w 991795"/>
                  <a:gd name="connsiteY82" fmla="*/ 133664 h 385134"/>
                  <a:gd name="connsiteX83" fmla="*/ 267857 w 991795"/>
                  <a:gd name="connsiteY83" fmla="*/ 138395 h 385134"/>
                  <a:gd name="connsiteX84" fmla="*/ 263875 w 991795"/>
                  <a:gd name="connsiteY84" fmla="*/ 143853 h 385134"/>
                  <a:gd name="connsiteX85" fmla="*/ 257360 w 991795"/>
                  <a:gd name="connsiteY85" fmla="*/ 150039 h 385134"/>
                  <a:gd name="connsiteX86" fmla="*/ 249034 w 991795"/>
                  <a:gd name="connsiteY86" fmla="*/ 155861 h 385134"/>
                  <a:gd name="connsiteX87" fmla="*/ 238537 w 991795"/>
                  <a:gd name="connsiteY87" fmla="*/ 162047 h 385134"/>
                  <a:gd name="connsiteX88" fmla="*/ 221163 w 991795"/>
                  <a:gd name="connsiteY88" fmla="*/ 169325 h 385134"/>
                  <a:gd name="connsiteX89" fmla="*/ 201254 w 991795"/>
                  <a:gd name="connsiteY89" fmla="*/ 175511 h 385134"/>
                  <a:gd name="connsiteX90" fmla="*/ 180260 w 991795"/>
                  <a:gd name="connsiteY90" fmla="*/ 179877 h 385134"/>
                  <a:gd name="connsiteX91" fmla="*/ 157818 w 991795"/>
                  <a:gd name="connsiteY91" fmla="*/ 182788 h 385134"/>
                  <a:gd name="connsiteX92" fmla="*/ 134652 w 991795"/>
                  <a:gd name="connsiteY92" fmla="*/ 183880 h 385134"/>
                  <a:gd name="connsiteX93" fmla="*/ 111848 w 991795"/>
                  <a:gd name="connsiteY93" fmla="*/ 182788 h 385134"/>
                  <a:gd name="connsiteX94" fmla="*/ 89406 w 991795"/>
                  <a:gd name="connsiteY94" fmla="*/ 179877 h 385134"/>
                  <a:gd name="connsiteX95" fmla="*/ 68412 w 991795"/>
                  <a:gd name="connsiteY95" fmla="*/ 175511 h 385134"/>
                  <a:gd name="connsiteX96" fmla="*/ 48504 w 991795"/>
                  <a:gd name="connsiteY96" fmla="*/ 169325 h 385134"/>
                  <a:gd name="connsiteX97" fmla="*/ 31129 w 991795"/>
                  <a:gd name="connsiteY97" fmla="*/ 162047 h 385134"/>
                  <a:gd name="connsiteX98" fmla="*/ 19184 w 991795"/>
                  <a:gd name="connsiteY98" fmla="*/ 154769 h 385134"/>
                  <a:gd name="connsiteX99" fmla="*/ 10135 w 991795"/>
                  <a:gd name="connsiteY99" fmla="*/ 147856 h 385134"/>
                  <a:gd name="connsiteX100" fmla="*/ 3619 w 991795"/>
                  <a:gd name="connsiteY100" fmla="*/ 141306 h 385134"/>
                  <a:gd name="connsiteX101" fmla="*/ 0 w 991795"/>
                  <a:gd name="connsiteY101" fmla="*/ 135484 h 385134"/>
                  <a:gd name="connsiteX102" fmla="*/ 5429 w 991795"/>
                  <a:gd name="connsiteY102" fmla="*/ 131481 h 385134"/>
                  <a:gd name="connsiteX103" fmla="*/ 11945 w 991795"/>
                  <a:gd name="connsiteY103" fmla="*/ 127114 h 385134"/>
                  <a:gd name="connsiteX104" fmla="*/ 19184 w 991795"/>
                  <a:gd name="connsiteY104" fmla="*/ 123112 h 385134"/>
                  <a:gd name="connsiteX105" fmla="*/ 25700 w 991795"/>
                  <a:gd name="connsiteY105" fmla="*/ 119109 h 385134"/>
                  <a:gd name="connsiteX106" fmla="*/ 770994 w 991795"/>
                  <a:gd name="connsiteY106" fmla="*/ 0 h 385134"/>
                  <a:gd name="connsiteX107" fmla="*/ 790178 w 991795"/>
                  <a:gd name="connsiteY107" fmla="*/ 1448 h 385134"/>
                  <a:gd name="connsiteX108" fmla="*/ 808639 w 991795"/>
                  <a:gd name="connsiteY108" fmla="*/ 5068 h 385134"/>
                  <a:gd name="connsiteX109" fmla="*/ 827099 w 991795"/>
                  <a:gd name="connsiteY109" fmla="*/ 9411 h 385134"/>
                  <a:gd name="connsiteX110" fmla="*/ 844112 w 991795"/>
                  <a:gd name="connsiteY110" fmla="*/ 15565 h 385134"/>
                  <a:gd name="connsiteX111" fmla="*/ 860762 w 991795"/>
                  <a:gd name="connsiteY111" fmla="*/ 22442 h 385134"/>
                  <a:gd name="connsiteX112" fmla="*/ 875603 w 991795"/>
                  <a:gd name="connsiteY112" fmla="*/ 30044 h 385134"/>
                  <a:gd name="connsiteX113" fmla="*/ 890082 w 991795"/>
                  <a:gd name="connsiteY113" fmla="*/ 38369 h 385134"/>
                  <a:gd name="connsiteX114" fmla="*/ 902389 w 991795"/>
                  <a:gd name="connsiteY114" fmla="*/ 47056 h 385134"/>
                  <a:gd name="connsiteX115" fmla="*/ 914334 w 991795"/>
                  <a:gd name="connsiteY115" fmla="*/ 55381 h 385134"/>
                  <a:gd name="connsiteX116" fmla="*/ 924469 w 991795"/>
                  <a:gd name="connsiteY116" fmla="*/ 63345 h 385134"/>
                  <a:gd name="connsiteX117" fmla="*/ 932794 w 991795"/>
                  <a:gd name="connsiteY117" fmla="*/ 70946 h 385134"/>
                  <a:gd name="connsiteX118" fmla="*/ 940034 w 991795"/>
                  <a:gd name="connsiteY118" fmla="*/ 77823 h 385134"/>
                  <a:gd name="connsiteX119" fmla="*/ 945101 w 991795"/>
                  <a:gd name="connsiteY119" fmla="*/ 83253 h 385134"/>
                  <a:gd name="connsiteX120" fmla="*/ 948359 w 991795"/>
                  <a:gd name="connsiteY120" fmla="*/ 87958 h 385134"/>
                  <a:gd name="connsiteX121" fmla="*/ 949807 w 991795"/>
                  <a:gd name="connsiteY121" fmla="*/ 90492 h 385134"/>
                  <a:gd name="connsiteX122" fmla="*/ 950893 w 991795"/>
                  <a:gd name="connsiteY122" fmla="*/ 93388 h 385134"/>
                  <a:gd name="connsiteX123" fmla="*/ 952341 w 991795"/>
                  <a:gd name="connsiteY123" fmla="*/ 98818 h 385134"/>
                  <a:gd name="connsiteX124" fmla="*/ 954512 w 991795"/>
                  <a:gd name="connsiteY124" fmla="*/ 106419 h 385134"/>
                  <a:gd name="connsiteX125" fmla="*/ 957408 w 991795"/>
                  <a:gd name="connsiteY125" fmla="*/ 115830 h 385134"/>
                  <a:gd name="connsiteX126" fmla="*/ 960304 w 991795"/>
                  <a:gd name="connsiteY126" fmla="*/ 126689 h 385134"/>
                  <a:gd name="connsiteX127" fmla="*/ 963924 w 991795"/>
                  <a:gd name="connsiteY127" fmla="*/ 138634 h 385134"/>
                  <a:gd name="connsiteX128" fmla="*/ 967543 w 991795"/>
                  <a:gd name="connsiteY128" fmla="*/ 152027 h 385134"/>
                  <a:gd name="connsiteX129" fmla="*/ 971525 w 991795"/>
                  <a:gd name="connsiteY129" fmla="*/ 166144 h 385134"/>
                  <a:gd name="connsiteX130" fmla="*/ 975507 w 991795"/>
                  <a:gd name="connsiteY130" fmla="*/ 180622 h 385134"/>
                  <a:gd name="connsiteX131" fmla="*/ 978764 w 991795"/>
                  <a:gd name="connsiteY131" fmla="*/ 195101 h 385134"/>
                  <a:gd name="connsiteX132" fmla="*/ 982384 w 991795"/>
                  <a:gd name="connsiteY132" fmla="*/ 209580 h 385134"/>
                  <a:gd name="connsiteX133" fmla="*/ 985280 w 991795"/>
                  <a:gd name="connsiteY133" fmla="*/ 223335 h 385134"/>
                  <a:gd name="connsiteX134" fmla="*/ 987814 w 991795"/>
                  <a:gd name="connsiteY134" fmla="*/ 237089 h 385134"/>
                  <a:gd name="connsiteX135" fmla="*/ 989985 w 991795"/>
                  <a:gd name="connsiteY135" fmla="*/ 249396 h 385134"/>
                  <a:gd name="connsiteX136" fmla="*/ 991433 w 991795"/>
                  <a:gd name="connsiteY136" fmla="*/ 260979 h 385134"/>
                  <a:gd name="connsiteX137" fmla="*/ 991795 w 991795"/>
                  <a:gd name="connsiteY137" fmla="*/ 270391 h 385134"/>
                  <a:gd name="connsiteX138" fmla="*/ 991795 w 991795"/>
                  <a:gd name="connsiteY138" fmla="*/ 278354 h 385134"/>
                  <a:gd name="connsiteX139" fmla="*/ 990347 w 991795"/>
                  <a:gd name="connsiteY139" fmla="*/ 284507 h 385134"/>
                  <a:gd name="connsiteX140" fmla="*/ 986728 w 991795"/>
                  <a:gd name="connsiteY140" fmla="*/ 289937 h 385134"/>
                  <a:gd name="connsiteX141" fmla="*/ 981298 w 991795"/>
                  <a:gd name="connsiteY141" fmla="*/ 295728 h 385134"/>
                  <a:gd name="connsiteX142" fmla="*/ 974421 w 991795"/>
                  <a:gd name="connsiteY142" fmla="*/ 302244 h 385134"/>
                  <a:gd name="connsiteX143" fmla="*/ 965010 w 991795"/>
                  <a:gd name="connsiteY143" fmla="*/ 308759 h 385134"/>
                  <a:gd name="connsiteX144" fmla="*/ 954512 w 991795"/>
                  <a:gd name="connsiteY144" fmla="*/ 315275 h 385134"/>
                  <a:gd name="connsiteX145" fmla="*/ 942929 w 991795"/>
                  <a:gd name="connsiteY145" fmla="*/ 321428 h 385134"/>
                  <a:gd name="connsiteX146" fmla="*/ 929899 w 991795"/>
                  <a:gd name="connsiteY146" fmla="*/ 327220 h 385134"/>
                  <a:gd name="connsiteX147" fmla="*/ 916506 w 991795"/>
                  <a:gd name="connsiteY147" fmla="*/ 332649 h 385134"/>
                  <a:gd name="connsiteX148" fmla="*/ 902389 w 991795"/>
                  <a:gd name="connsiteY148" fmla="*/ 337355 h 385134"/>
                  <a:gd name="connsiteX149" fmla="*/ 888634 w 991795"/>
                  <a:gd name="connsiteY149" fmla="*/ 340612 h 385134"/>
                  <a:gd name="connsiteX150" fmla="*/ 874155 w 991795"/>
                  <a:gd name="connsiteY150" fmla="*/ 343870 h 385134"/>
                  <a:gd name="connsiteX151" fmla="*/ 860038 w 991795"/>
                  <a:gd name="connsiteY151" fmla="*/ 344594 h 385134"/>
                  <a:gd name="connsiteX152" fmla="*/ 846646 w 991795"/>
                  <a:gd name="connsiteY152" fmla="*/ 344594 h 385134"/>
                  <a:gd name="connsiteX153" fmla="*/ 833615 w 991795"/>
                  <a:gd name="connsiteY153" fmla="*/ 343146 h 385134"/>
                  <a:gd name="connsiteX154" fmla="*/ 821670 w 991795"/>
                  <a:gd name="connsiteY154" fmla="*/ 339165 h 385134"/>
                  <a:gd name="connsiteX155" fmla="*/ 811173 w 991795"/>
                  <a:gd name="connsiteY155" fmla="*/ 334097 h 385134"/>
                  <a:gd name="connsiteX156" fmla="*/ 798142 w 991795"/>
                  <a:gd name="connsiteY156" fmla="*/ 325410 h 385134"/>
                  <a:gd name="connsiteX157" fmla="*/ 784387 w 991795"/>
                  <a:gd name="connsiteY157" fmla="*/ 315637 h 385134"/>
                  <a:gd name="connsiteX158" fmla="*/ 769908 w 991795"/>
                  <a:gd name="connsiteY158" fmla="*/ 305864 h 385134"/>
                  <a:gd name="connsiteX159" fmla="*/ 754705 w 991795"/>
                  <a:gd name="connsiteY159" fmla="*/ 295366 h 385134"/>
                  <a:gd name="connsiteX160" fmla="*/ 739865 w 991795"/>
                  <a:gd name="connsiteY160" fmla="*/ 284507 h 385134"/>
                  <a:gd name="connsiteX161" fmla="*/ 725024 w 991795"/>
                  <a:gd name="connsiteY161" fmla="*/ 273286 h 385134"/>
                  <a:gd name="connsiteX162" fmla="*/ 710545 w 991795"/>
                  <a:gd name="connsiteY162" fmla="*/ 262065 h 385134"/>
                  <a:gd name="connsiteX163" fmla="*/ 697152 w 991795"/>
                  <a:gd name="connsiteY163" fmla="*/ 251568 h 385134"/>
                  <a:gd name="connsiteX164" fmla="*/ 684483 w 991795"/>
                  <a:gd name="connsiteY164" fmla="*/ 241071 h 385134"/>
                  <a:gd name="connsiteX165" fmla="*/ 672900 w 991795"/>
                  <a:gd name="connsiteY165" fmla="*/ 231660 h 385134"/>
                  <a:gd name="connsiteX166" fmla="*/ 663489 w 991795"/>
                  <a:gd name="connsiteY166" fmla="*/ 222611 h 385134"/>
                  <a:gd name="connsiteX167" fmla="*/ 655526 w 991795"/>
                  <a:gd name="connsiteY167" fmla="*/ 215009 h 385134"/>
                  <a:gd name="connsiteX168" fmla="*/ 649734 w 991795"/>
                  <a:gd name="connsiteY168" fmla="*/ 208494 h 385134"/>
                  <a:gd name="connsiteX169" fmla="*/ 645753 w 991795"/>
                  <a:gd name="connsiteY169" fmla="*/ 202702 h 385134"/>
                  <a:gd name="connsiteX170" fmla="*/ 641047 w 991795"/>
                  <a:gd name="connsiteY170" fmla="*/ 195101 h 385134"/>
                  <a:gd name="connsiteX171" fmla="*/ 636703 w 991795"/>
                  <a:gd name="connsiteY171" fmla="*/ 187138 h 385134"/>
                  <a:gd name="connsiteX172" fmla="*/ 631998 w 991795"/>
                  <a:gd name="connsiteY172" fmla="*/ 177727 h 385134"/>
                  <a:gd name="connsiteX173" fmla="*/ 628016 w 991795"/>
                  <a:gd name="connsiteY173" fmla="*/ 167592 h 385134"/>
                  <a:gd name="connsiteX174" fmla="*/ 624759 w 991795"/>
                  <a:gd name="connsiteY174" fmla="*/ 157094 h 385134"/>
                  <a:gd name="connsiteX175" fmla="*/ 621139 w 991795"/>
                  <a:gd name="connsiteY175" fmla="*/ 146235 h 385134"/>
                  <a:gd name="connsiteX176" fmla="*/ 618605 w 991795"/>
                  <a:gd name="connsiteY176" fmla="*/ 135376 h 385134"/>
                  <a:gd name="connsiteX177" fmla="*/ 617157 w 991795"/>
                  <a:gd name="connsiteY177" fmla="*/ 124879 h 385134"/>
                  <a:gd name="connsiteX178" fmla="*/ 616071 w 991795"/>
                  <a:gd name="connsiteY178" fmla="*/ 114744 h 385134"/>
                  <a:gd name="connsiteX179" fmla="*/ 616795 w 991795"/>
                  <a:gd name="connsiteY179" fmla="*/ 104609 h 385134"/>
                  <a:gd name="connsiteX180" fmla="*/ 618243 w 991795"/>
                  <a:gd name="connsiteY180" fmla="*/ 96284 h 385134"/>
                  <a:gd name="connsiteX181" fmla="*/ 621139 w 991795"/>
                  <a:gd name="connsiteY181" fmla="*/ 88682 h 385134"/>
                  <a:gd name="connsiteX182" fmla="*/ 625844 w 991795"/>
                  <a:gd name="connsiteY182" fmla="*/ 82167 h 385134"/>
                  <a:gd name="connsiteX183" fmla="*/ 631998 w 991795"/>
                  <a:gd name="connsiteY183" fmla="*/ 77823 h 385134"/>
                  <a:gd name="connsiteX184" fmla="*/ 639599 w 991795"/>
                  <a:gd name="connsiteY184" fmla="*/ 73480 h 385134"/>
                  <a:gd name="connsiteX185" fmla="*/ 648287 w 991795"/>
                  <a:gd name="connsiteY185" fmla="*/ 68774 h 385134"/>
                  <a:gd name="connsiteX186" fmla="*/ 658060 w 991795"/>
                  <a:gd name="connsiteY186" fmla="*/ 63345 h 385134"/>
                  <a:gd name="connsiteX187" fmla="*/ 668557 w 991795"/>
                  <a:gd name="connsiteY187" fmla="*/ 57553 h 385134"/>
                  <a:gd name="connsiteX188" fmla="*/ 680140 w 991795"/>
                  <a:gd name="connsiteY188" fmla="*/ 51038 h 385134"/>
                  <a:gd name="connsiteX189" fmla="*/ 691361 w 991795"/>
                  <a:gd name="connsiteY189" fmla="*/ 44522 h 385134"/>
                  <a:gd name="connsiteX190" fmla="*/ 702944 w 991795"/>
                  <a:gd name="connsiteY190" fmla="*/ 38007 h 385134"/>
                  <a:gd name="connsiteX191" fmla="*/ 714527 w 991795"/>
                  <a:gd name="connsiteY191" fmla="*/ 31491 h 385134"/>
                  <a:gd name="connsiteX192" fmla="*/ 726110 w 991795"/>
                  <a:gd name="connsiteY192" fmla="*/ 25338 h 385134"/>
                  <a:gd name="connsiteX193" fmla="*/ 736245 w 991795"/>
                  <a:gd name="connsiteY193" fmla="*/ 19546 h 385134"/>
                  <a:gd name="connsiteX194" fmla="*/ 746018 w 991795"/>
                  <a:gd name="connsiteY194" fmla="*/ 14479 h 385134"/>
                  <a:gd name="connsiteX195" fmla="*/ 753981 w 991795"/>
                  <a:gd name="connsiteY195" fmla="*/ 9411 h 385134"/>
                  <a:gd name="connsiteX196" fmla="*/ 760859 w 991795"/>
                  <a:gd name="connsiteY196" fmla="*/ 5430 h 385134"/>
                  <a:gd name="connsiteX197" fmla="*/ 766288 w 991795"/>
                  <a:gd name="connsiteY197" fmla="*/ 2534 h 385134"/>
                  <a:gd name="connsiteX198" fmla="*/ 769184 w 991795"/>
                  <a:gd name="connsiteY198" fmla="*/ 1086 h 38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</a:cxnLst>
                <a:rect l="l" t="t" r="r" b="b"/>
                <a:pathLst>
                  <a:path w="991795" h="385134">
                    <a:moveTo>
                      <a:pt x="507580" y="121621"/>
                    </a:moveTo>
                    <a:lnTo>
                      <a:pt x="516601" y="122707"/>
                    </a:lnTo>
                    <a:lnTo>
                      <a:pt x="524180" y="125241"/>
                    </a:lnTo>
                    <a:lnTo>
                      <a:pt x="529593" y="129222"/>
                    </a:lnTo>
                    <a:lnTo>
                      <a:pt x="533923" y="134652"/>
                    </a:lnTo>
                    <a:lnTo>
                      <a:pt x="537171" y="141529"/>
                    </a:lnTo>
                    <a:lnTo>
                      <a:pt x="538975" y="150217"/>
                    </a:lnTo>
                    <a:lnTo>
                      <a:pt x="540058" y="159628"/>
                    </a:lnTo>
                    <a:lnTo>
                      <a:pt x="540058" y="170125"/>
                    </a:lnTo>
                    <a:lnTo>
                      <a:pt x="539336" y="180984"/>
                    </a:lnTo>
                    <a:lnTo>
                      <a:pt x="538614" y="193653"/>
                    </a:lnTo>
                    <a:lnTo>
                      <a:pt x="536449" y="206684"/>
                    </a:lnTo>
                    <a:lnTo>
                      <a:pt x="535006" y="220077"/>
                    </a:lnTo>
                    <a:lnTo>
                      <a:pt x="533201" y="234555"/>
                    </a:lnTo>
                    <a:lnTo>
                      <a:pt x="531036" y="249034"/>
                    </a:lnTo>
                    <a:lnTo>
                      <a:pt x="529593" y="263875"/>
                    </a:lnTo>
                    <a:lnTo>
                      <a:pt x="528149" y="278715"/>
                    </a:lnTo>
                    <a:lnTo>
                      <a:pt x="527066" y="293918"/>
                    </a:lnTo>
                    <a:lnTo>
                      <a:pt x="526706" y="308759"/>
                    </a:lnTo>
                    <a:lnTo>
                      <a:pt x="525984" y="324323"/>
                    </a:lnTo>
                    <a:lnTo>
                      <a:pt x="524180" y="337716"/>
                    </a:lnTo>
                    <a:lnTo>
                      <a:pt x="520932" y="349299"/>
                    </a:lnTo>
                    <a:lnTo>
                      <a:pt x="516962" y="358710"/>
                    </a:lnTo>
                    <a:lnTo>
                      <a:pt x="511549" y="366674"/>
                    </a:lnTo>
                    <a:lnTo>
                      <a:pt x="505775" y="373189"/>
                    </a:lnTo>
                    <a:lnTo>
                      <a:pt x="499280" y="377533"/>
                    </a:lnTo>
                    <a:lnTo>
                      <a:pt x="491340" y="381152"/>
                    </a:lnTo>
                    <a:lnTo>
                      <a:pt x="482680" y="383686"/>
                    </a:lnTo>
                    <a:lnTo>
                      <a:pt x="474019" y="384772"/>
                    </a:lnTo>
                    <a:lnTo>
                      <a:pt x="464275" y="385134"/>
                    </a:lnTo>
                    <a:lnTo>
                      <a:pt x="453810" y="385134"/>
                    </a:lnTo>
                    <a:lnTo>
                      <a:pt x="443345" y="384048"/>
                    </a:lnTo>
                    <a:lnTo>
                      <a:pt x="432158" y="382962"/>
                    </a:lnTo>
                    <a:lnTo>
                      <a:pt x="420610" y="381514"/>
                    </a:lnTo>
                    <a:lnTo>
                      <a:pt x="409062" y="380067"/>
                    </a:lnTo>
                    <a:lnTo>
                      <a:pt x="397154" y="378619"/>
                    </a:lnTo>
                    <a:lnTo>
                      <a:pt x="383801" y="376085"/>
                    </a:lnTo>
                    <a:lnTo>
                      <a:pt x="372254" y="372827"/>
                    </a:lnTo>
                    <a:lnTo>
                      <a:pt x="362871" y="368122"/>
                    </a:lnTo>
                    <a:lnTo>
                      <a:pt x="355654" y="362692"/>
                    </a:lnTo>
                    <a:lnTo>
                      <a:pt x="349158" y="356539"/>
                    </a:lnTo>
                    <a:lnTo>
                      <a:pt x="344106" y="350385"/>
                    </a:lnTo>
                    <a:lnTo>
                      <a:pt x="340136" y="343146"/>
                    </a:lnTo>
                    <a:lnTo>
                      <a:pt x="336527" y="335906"/>
                    </a:lnTo>
                    <a:lnTo>
                      <a:pt x="333641" y="328305"/>
                    </a:lnTo>
                    <a:lnTo>
                      <a:pt x="330754" y="320342"/>
                    </a:lnTo>
                    <a:lnTo>
                      <a:pt x="327506" y="312740"/>
                    </a:lnTo>
                    <a:lnTo>
                      <a:pt x="324619" y="305501"/>
                    </a:lnTo>
                    <a:lnTo>
                      <a:pt x="320649" y="298262"/>
                    </a:lnTo>
                    <a:lnTo>
                      <a:pt x="316319" y="291746"/>
                    </a:lnTo>
                    <a:lnTo>
                      <a:pt x="311267" y="284507"/>
                    </a:lnTo>
                    <a:lnTo>
                      <a:pt x="307297" y="278353"/>
                    </a:lnTo>
                    <a:lnTo>
                      <a:pt x="304410" y="272562"/>
                    </a:lnTo>
                    <a:lnTo>
                      <a:pt x="303327" y="266408"/>
                    </a:lnTo>
                    <a:lnTo>
                      <a:pt x="302606" y="260255"/>
                    </a:lnTo>
                    <a:lnTo>
                      <a:pt x="304410" y="254102"/>
                    </a:lnTo>
                    <a:lnTo>
                      <a:pt x="306575" y="246862"/>
                    </a:lnTo>
                    <a:lnTo>
                      <a:pt x="310906" y="238537"/>
                    </a:lnTo>
                    <a:lnTo>
                      <a:pt x="315597" y="229488"/>
                    </a:lnTo>
                    <a:lnTo>
                      <a:pt x="322093" y="218629"/>
                    </a:lnTo>
                    <a:lnTo>
                      <a:pt x="330032" y="205960"/>
                    </a:lnTo>
                    <a:lnTo>
                      <a:pt x="339414" y="191481"/>
                    </a:lnTo>
                    <a:lnTo>
                      <a:pt x="341219" y="191119"/>
                    </a:lnTo>
                    <a:lnTo>
                      <a:pt x="344106" y="188947"/>
                    </a:lnTo>
                    <a:lnTo>
                      <a:pt x="349158" y="186052"/>
                    </a:lnTo>
                    <a:lnTo>
                      <a:pt x="355654" y="181708"/>
                    </a:lnTo>
                    <a:lnTo>
                      <a:pt x="363954" y="176640"/>
                    </a:lnTo>
                    <a:lnTo>
                      <a:pt x="374058" y="171211"/>
                    </a:lnTo>
                    <a:lnTo>
                      <a:pt x="384884" y="165057"/>
                    </a:lnTo>
                    <a:lnTo>
                      <a:pt x="396793" y="159266"/>
                    </a:lnTo>
                    <a:lnTo>
                      <a:pt x="409784" y="152750"/>
                    </a:lnTo>
                    <a:lnTo>
                      <a:pt x="423136" y="146597"/>
                    </a:lnTo>
                    <a:lnTo>
                      <a:pt x="437571" y="140805"/>
                    </a:lnTo>
                    <a:lnTo>
                      <a:pt x="452006" y="135376"/>
                    </a:lnTo>
                    <a:lnTo>
                      <a:pt x="466801" y="130308"/>
                    </a:lnTo>
                    <a:lnTo>
                      <a:pt x="482319" y="126327"/>
                    </a:lnTo>
                    <a:lnTo>
                      <a:pt x="497114" y="122707"/>
                    </a:lnTo>
                    <a:close/>
                    <a:moveTo>
                      <a:pt x="31853" y="115106"/>
                    </a:moveTo>
                    <a:lnTo>
                      <a:pt x="222611" y="115106"/>
                    </a:lnTo>
                    <a:lnTo>
                      <a:pt x="242881" y="125659"/>
                    </a:lnTo>
                    <a:lnTo>
                      <a:pt x="243605" y="125659"/>
                    </a:lnTo>
                    <a:lnTo>
                      <a:pt x="251568" y="129661"/>
                    </a:lnTo>
                    <a:lnTo>
                      <a:pt x="259893" y="133664"/>
                    </a:lnTo>
                    <a:lnTo>
                      <a:pt x="267857" y="138395"/>
                    </a:lnTo>
                    <a:lnTo>
                      <a:pt x="263875" y="143853"/>
                    </a:lnTo>
                    <a:lnTo>
                      <a:pt x="257360" y="150039"/>
                    </a:lnTo>
                    <a:lnTo>
                      <a:pt x="249034" y="155861"/>
                    </a:lnTo>
                    <a:lnTo>
                      <a:pt x="238537" y="162047"/>
                    </a:lnTo>
                    <a:lnTo>
                      <a:pt x="221163" y="169325"/>
                    </a:lnTo>
                    <a:lnTo>
                      <a:pt x="201254" y="175511"/>
                    </a:lnTo>
                    <a:lnTo>
                      <a:pt x="180260" y="179877"/>
                    </a:lnTo>
                    <a:lnTo>
                      <a:pt x="157818" y="182788"/>
                    </a:lnTo>
                    <a:lnTo>
                      <a:pt x="134652" y="183880"/>
                    </a:lnTo>
                    <a:lnTo>
                      <a:pt x="111848" y="182788"/>
                    </a:lnTo>
                    <a:lnTo>
                      <a:pt x="89406" y="179877"/>
                    </a:lnTo>
                    <a:lnTo>
                      <a:pt x="68412" y="175511"/>
                    </a:lnTo>
                    <a:lnTo>
                      <a:pt x="48504" y="169325"/>
                    </a:lnTo>
                    <a:lnTo>
                      <a:pt x="31129" y="162047"/>
                    </a:lnTo>
                    <a:lnTo>
                      <a:pt x="19184" y="154769"/>
                    </a:lnTo>
                    <a:lnTo>
                      <a:pt x="10135" y="147856"/>
                    </a:lnTo>
                    <a:lnTo>
                      <a:pt x="3619" y="141306"/>
                    </a:lnTo>
                    <a:lnTo>
                      <a:pt x="0" y="135484"/>
                    </a:lnTo>
                    <a:lnTo>
                      <a:pt x="5429" y="131481"/>
                    </a:lnTo>
                    <a:lnTo>
                      <a:pt x="11945" y="127114"/>
                    </a:lnTo>
                    <a:lnTo>
                      <a:pt x="19184" y="123112"/>
                    </a:lnTo>
                    <a:lnTo>
                      <a:pt x="25700" y="119109"/>
                    </a:lnTo>
                    <a:close/>
                    <a:moveTo>
                      <a:pt x="770994" y="0"/>
                    </a:moveTo>
                    <a:lnTo>
                      <a:pt x="790178" y="1448"/>
                    </a:lnTo>
                    <a:lnTo>
                      <a:pt x="808639" y="5068"/>
                    </a:lnTo>
                    <a:lnTo>
                      <a:pt x="827099" y="9411"/>
                    </a:lnTo>
                    <a:lnTo>
                      <a:pt x="844112" y="15565"/>
                    </a:lnTo>
                    <a:lnTo>
                      <a:pt x="860762" y="22442"/>
                    </a:lnTo>
                    <a:lnTo>
                      <a:pt x="875603" y="30044"/>
                    </a:lnTo>
                    <a:lnTo>
                      <a:pt x="890082" y="38369"/>
                    </a:lnTo>
                    <a:lnTo>
                      <a:pt x="902389" y="47056"/>
                    </a:lnTo>
                    <a:lnTo>
                      <a:pt x="914334" y="55381"/>
                    </a:lnTo>
                    <a:lnTo>
                      <a:pt x="924469" y="63345"/>
                    </a:lnTo>
                    <a:lnTo>
                      <a:pt x="932794" y="70946"/>
                    </a:lnTo>
                    <a:lnTo>
                      <a:pt x="940034" y="77823"/>
                    </a:lnTo>
                    <a:lnTo>
                      <a:pt x="945101" y="83253"/>
                    </a:lnTo>
                    <a:lnTo>
                      <a:pt x="948359" y="87958"/>
                    </a:lnTo>
                    <a:lnTo>
                      <a:pt x="949807" y="90492"/>
                    </a:lnTo>
                    <a:lnTo>
                      <a:pt x="950893" y="93388"/>
                    </a:lnTo>
                    <a:lnTo>
                      <a:pt x="952341" y="98818"/>
                    </a:lnTo>
                    <a:lnTo>
                      <a:pt x="954512" y="106419"/>
                    </a:lnTo>
                    <a:lnTo>
                      <a:pt x="957408" y="115830"/>
                    </a:lnTo>
                    <a:lnTo>
                      <a:pt x="960304" y="126689"/>
                    </a:lnTo>
                    <a:lnTo>
                      <a:pt x="963924" y="138634"/>
                    </a:lnTo>
                    <a:lnTo>
                      <a:pt x="967543" y="152027"/>
                    </a:lnTo>
                    <a:lnTo>
                      <a:pt x="971525" y="166144"/>
                    </a:lnTo>
                    <a:lnTo>
                      <a:pt x="975507" y="180622"/>
                    </a:lnTo>
                    <a:lnTo>
                      <a:pt x="978764" y="195101"/>
                    </a:lnTo>
                    <a:lnTo>
                      <a:pt x="982384" y="209580"/>
                    </a:lnTo>
                    <a:lnTo>
                      <a:pt x="985280" y="223335"/>
                    </a:lnTo>
                    <a:lnTo>
                      <a:pt x="987814" y="237089"/>
                    </a:lnTo>
                    <a:lnTo>
                      <a:pt x="989985" y="249396"/>
                    </a:lnTo>
                    <a:lnTo>
                      <a:pt x="991433" y="260979"/>
                    </a:lnTo>
                    <a:lnTo>
                      <a:pt x="991795" y="270391"/>
                    </a:lnTo>
                    <a:lnTo>
                      <a:pt x="991795" y="278354"/>
                    </a:lnTo>
                    <a:lnTo>
                      <a:pt x="990347" y="284507"/>
                    </a:lnTo>
                    <a:lnTo>
                      <a:pt x="986728" y="289937"/>
                    </a:lnTo>
                    <a:lnTo>
                      <a:pt x="981298" y="295728"/>
                    </a:lnTo>
                    <a:lnTo>
                      <a:pt x="974421" y="302244"/>
                    </a:lnTo>
                    <a:lnTo>
                      <a:pt x="965010" y="308759"/>
                    </a:lnTo>
                    <a:lnTo>
                      <a:pt x="954512" y="315275"/>
                    </a:lnTo>
                    <a:lnTo>
                      <a:pt x="942929" y="321428"/>
                    </a:lnTo>
                    <a:lnTo>
                      <a:pt x="929899" y="327220"/>
                    </a:lnTo>
                    <a:lnTo>
                      <a:pt x="916506" y="332649"/>
                    </a:lnTo>
                    <a:lnTo>
                      <a:pt x="902389" y="337355"/>
                    </a:lnTo>
                    <a:lnTo>
                      <a:pt x="888634" y="340612"/>
                    </a:lnTo>
                    <a:lnTo>
                      <a:pt x="874155" y="343870"/>
                    </a:lnTo>
                    <a:lnTo>
                      <a:pt x="860038" y="344594"/>
                    </a:lnTo>
                    <a:lnTo>
                      <a:pt x="846646" y="344594"/>
                    </a:lnTo>
                    <a:lnTo>
                      <a:pt x="833615" y="343146"/>
                    </a:lnTo>
                    <a:lnTo>
                      <a:pt x="821670" y="339165"/>
                    </a:lnTo>
                    <a:lnTo>
                      <a:pt x="811173" y="334097"/>
                    </a:lnTo>
                    <a:lnTo>
                      <a:pt x="798142" y="325410"/>
                    </a:lnTo>
                    <a:lnTo>
                      <a:pt x="784387" y="315637"/>
                    </a:lnTo>
                    <a:lnTo>
                      <a:pt x="769908" y="305864"/>
                    </a:lnTo>
                    <a:lnTo>
                      <a:pt x="754705" y="295366"/>
                    </a:lnTo>
                    <a:lnTo>
                      <a:pt x="739865" y="284507"/>
                    </a:lnTo>
                    <a:lnTo>
                      <a:pt x="725024" y="273286"/>
                    </a:lnTo>
                    <a:lnTo>
                      <a:pt x="710545" y="262065"/>
                    </a:lnTo>
                    <a:lnTo>
                      <a:pt x="697152" y="251568"/>
                    </a:lnTo>
                    <a:lnTo>
                      <a:pt x="684483" y="241071"/>
                    </a:lnTo>
                    <a:lnTo>
                      <a:pt x="672900" y="231660"/>
                    </a:lnTo>
                    <a:lnTo>
                      <a:pt x="663489" y="222611"/>
                    </a:lnTo>
                    <a:lnTo>
                      <a:pt x="655526" y="215009"/>
                    </a:lnTo>
                    <a:lnTo>
                      <a:pt x="649734" y="208494"/>
                    </a:lnTo>
                    <a:lnTo>
                      <a:pt x="645753" y="202702"/>
                    </a:lnTo>
                    <a:lnTo>
                      <a:pt x="641047" y="195101"/>
                    </a:lnTo>
                    <a:lnTo>
                      <a:pt x="636703" y="187138"/>
                    </a:lnTo>
                    <a:lnTo>
                      <a:pt x="631998" y="177727"/>
                    </a:lnTo>
                    <a:lnTo>
                      <a:pt x="628016" y="167592"/>
                    </a:lnTo>
                    <a:lnTo>
                      <a:pt x="624759" y="157094"/>
                    </a:lnTo>
                    <a:lnTo>
                      <a:pt x="621139" y="146235"/>
                    </a:lnTo>
                    <a:lnTo>
                      <a:pt x="618605" y="135376"/>
                    </a:lnTo>
                    <a:lnTo>
                      <a:pt x="617157" y="124879"/>
                    </a:lnTo>
                    <a:lnTo>
                      <a:pt x="616071" y="114744"/>
                    </a:lnTo>
                    <a:lnTo>
                      <a:pt x="616795" y="104609"/>
                    </a:lnTo>
                    <a:lnTo>
                      <a:pt x="618243" y="96284"/>
                    </a:lnTo>
                    <a:lnTo>
                      <a:pt x="621139" y="88682"/>
                    </a:lnTo>
                    <a:lnTo>
                      <a:pt x="625844" y="82167"/>
                    </a:lnTo>
                    <a:lnTo>
                      <a:pt x="631998" y="77823"/>
                    </a:lnTo>
                    <a:lnTo>
                      <a:pt x="639599" y="73480"/>
                    </a:lnTo>
                    <a:lnTo>
                      <a:pt x="648287" y="68774"/>
                    </a:lnTo>
                    <a:lnTo>
                      <a:pt x="658060" y="63345"/>
                    </a:lnTo>
                    <a:lnTo>
                      <a:pt x="668557" y="57553"/>
                    </a:lnTo>
                    <a:lnTo>
                      <a:pt x="680140" y="51038"/>
                    </a:lnTo>
                    <a:lnTo>
                      <a:pt x="691361" y="44522"/>
                    </a:lnTo>
                    <a:lnTo>
                      <a:pt x="702944" y="38007"/>
                    </a:lnTo>
                    <a:lnTo>
                      <a:pt x="714527" y="31491"/>
                    </a:lnTo>
                    <a:lnTo>
                      <a:pt x="726110" y="25338"/>
                    </a:lnTo>
                    <a:lnTo>
                      <a:pt x="736245" y="19546"/>
                    </a:lnTo>
                    <a:lnTo>
                      <a:pt x="746018" y="14479"/>
                    </a:lnTo>
                    <a:lnTo>
                      <a:pt x="753981" y="9411"/>
                    </a:lnTo>
                    <a:lnTo>
                      <a:pt x="760859" y="5430"/>
                    </a:lnTo>
                    <a:lnTo>
                      <a:pt x="766288" y="2534"/>
                    </a:lnTo>
                    <a:lnTo>
                      <a:pt x="769184" y="1086"/>
                    </a:lnTo>
                    <a:close/>
                  </a:path>
                </a:pathLst>
              </a:custGeom>
              <a:solidFill>
                <a:srgbClr val="98A6CC"/>
              </a:solidFill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</p:grpSp>
      </p:grpSp>
      <p:sp>
        <p:nvSpPr>
          <p:cNvPr id="5" name="Rectangle 4"/>
          <p:cNvSpPr/>
          <p:nvPr/>
        </p:nvSpPr>
        <p:spPr>
          <a:xfrm>
            <a:off x="802714" y="1463711"/>
            <a:ext cx="3091543" cy="978038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 err="1">
              <a:solidFill>
                <a:srgbClr val="FFFFFF"/>
              </a:solidFill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9111597" y="1463711"/>
            <a:ext cx="1896892" cy="978038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23" name="Straight Arrow Connector 122"/>
          <p:cNvCxnSpPr/>
          <p:nvPr/>
        </p:nvCxnSpPr>
        <p:spPr>
          <a:xfrm>
            <a:off x="2276952" y="5052787"/>
            <a:ext cx="564663" cy="0"/>
          </a:xfrm>
          <a:prstGeom prst="straightConnector1">
            <a:avLst/>
          </a:prstGeom>
          <a:ln w="31750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oup 123"/>
          <p:cNvGrpSpPr/>
          <p:nvPr/>
        </p:nvGrpSpPr>
        <p:grpSpPr>
          <a:xfrm>
            <a:off x="3108352" y="4561479"/>
            <a:ext cx="982617" cy="982617"/>
            <a:chOff x="5273040" y="2606040"/>
            <a:chExt cx="1645920" cy="1645920"/>
          </a:xfrm>
        </p:grpSpPr>
        <p:sp>
          <p:nvSpPr>
            <p:cNvPr id="125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040" y="260604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686F6F"/>
                </a:solidFill>
              </a:endParaRPr>
            </a:p>
          </p:txBody>
        </p:sp>
        <p:grpSp>
          <p:nvGrpSpPr>
            <p:cNvPr id="126" name="Group 125"/>
            <p:cNvGrpSpPr/>
            <p:nvPr/>
          </p:nvGrpSpPr>
          <p:grpSpPr>
            <a:xfrm>
              <a:off x="5737479" y="2881122"/>
              <a:ext cx="717042" cy="1095756"/>
              <a:chOff x="5737479" y="2881122"/>
              <a:chExt cx="717042" cy="1095756"/>
            </a:xfrm>
          </p:grpSpPr>
          <p:sp>
            <p:nvSpPr>
              <p:cNvPr id="127" name="Freeform 126"/>
              <p:cNvSpPr>
                <a:spLocks/>
              </p:cNvSpPr>
              <p:nvPr/>
            </p:nvSpPr>
            <p:spPr bwMode="auto">
              <a:xfrm>
                <a:off x="5737479" y="2881122"/>
                <a:ext cx="717042" cy="1095756"/>
              </a:xfrm>
              <a:custGeom>
                <a:avLst/>
                <a:gdLst>
                  <a:gd name="connsiteX0" fmla="*/ 552885 w 2987675"/>
                  <a:gd name="connsiteY0" fmla="*/ 4432300 h 4565650"/>
                  <a:gd name="connsiteX1" fmla="*/ 2441139 w 2987675"/>
                  <a:gd name="connsiteY1" fmla="*/ 4432300 h 4565650"/>
                  <a:gd name="connsiteX2" fmla="*/ 2506662 w 2987675"/>
                  <a:gd name="connsiteY2" fmla="*/ 4500457 h 4565650"/>
                  <a:gd name="connsiteX3" fmla="*/ 2441139 w 2987675"/>
                  <a:gd name="connsiteY3" fmla="*/ 4565650 h 4565650"/>
                  <a:gd name="connsiteX4" fmla="*/ 552885 w 2987675"/>
                  <a:gd name="connsiteY4" fmla="*/ 4565650 h 4565650"/>
                  <a:gd name="connsiteX5" fmla="*/ 487362 w 2987675"/>
                  <a:gd name="connsiteY5" fmla="*/ 4500457 h 4565650"/>
                  <a:gd name="connsiteX6" fmla="*/ 552885 w 2987675"/>
                  <a:gd name="connsiteY6" fmla="*/ 4432300 h 4565650"/>
                  <a:gd name="connsiteX7" fmla="*/ 636338 w 2987675"/>
                  <a:gd name="connsiteY7" fmla="*/ 874713 h 4565650"/>
                  <a:gd name="connsiteX8" fmla="*/ 130175 w 2987675"/>
                  <a:gd name="connsiteY8" fmla="*/ 1383767 h 4565650"/>
                  <a:gd name="connsiteX9" fmla="*/ 130175 w 2987675"/>
                  <a:gd name="connsiteY9" fmla="*/ 3637299 h 4565650"/>
                  <a:gd name="connsiteX10" fmla="*/ 636338 w 2987675"/>
                  <a:gd name="connsiteY10" fmla="*/ 4143376 h 4565650"/>
                  <a:gd name="connsiteX11" fmla="*/ 2351337 w 2987675"/>
                  <a:gd name="connsiteY11" fmla="*/ 4143376 h 4565650"/>
                  <a:gd name="connsiteX12" fmla="*/ 2857500 w 2987675"/>
                  <a:gd name="connsiteY12" fmla="*/ 3637299 h 4565650"/>
                  <a:gd name="connsiteX13" fmla="*/ 2857500 w 2987675"/>
                  <a:gd name="connsiteY13" fmla="*/ 1383767 h 4565650"/>
                  <a:gd name="connsiteX14" fmla="*/ 2351337 w 2987675"/>
                  <a:gd name="connsiteY14" fmla="*/ 874713 h 4565650"/>
                  <a:gd name="connsiteX15" fmla="*/ 636338 w 2987675"/>
                  <a:gd name="connsiteY15" fmla="*/ 874713 h 4565650"/>
                  <a:gd name="connsiteX16" fmla="*/ 833437 w 2987675"/>
                  <a:gd name="connsiteY16" fmla="*/ 463550 h 4565650"/>
                  <a:gd name="connsiteX17" fmla="*/ 833437 w 2987675"/>
                  <a:gd name="connsiteY17" fmla="*/ 744538 h 4565650"/>
                  <a:gd name="connsiteX18" fmla="*/ 1285603 w 2987675"/>
                  <a:gd name="connsiteY18" fmla="*/ 744538 h 4565650"/>
                  <a:gd name="connsiteX19" fmla="*/ 1285603 w 2987675"/>
                  <a:gd name="connsiteY19" fmla="*/ 669807 h 4565650"/>
                  <a:gd name="connsiteX20" fmla="*/ 1351048 w 2987675"/>
                  <a:gd name="connsiteY20" fmla="*/ 604044 h 4565650"/>
                  <a:gd name="connsiteX21" fmla="*/ 1636626 w 2987675"/>
                  <a:gd name="connsiteY21" fmla="*/ 604044 h 4565650"/>
                  <a:gd name="connsiteX22" fmla="*/ 1702071 w 2987675"/>
                  <a:gd name="connsiteY22" fmla="*/ 669807 h 4565650"/>
                  <a:gd name="connsiteX23" fmla="*/ 1702071 w 2987675"/>
                  <a:gd name="connsiteY23" fmla="*/ 744538 h 4565650"/>
                  <a:gd name="connsiteX24" fmla="*/ 2154237 w 2987675"/>
                  <a:gd name="connsiteY24" fmla="*/ 744538 h 4565650"/>
                  <a:gd name="connsiteX25" fmla="*/ 2154237 w 2987675"/>
                  <a:gd name="connsiteY25" fmla="*/ 463550 h 4565650"/>
                  <a:gd name="connsiteX26" fmla="*/ 833437 w 2987675"/>
                  <a:gd name="connsiteY26" fmla="*/ 463550 h 4565650"/>
                  <a:gd name="connsiteX27" fmla="*/ 619125 w 2987675"/>
                  <a:gd name="connsiteY27" fmla="*/ 130175 h 4565650"/>
                  <a:gd name="connsiteX28" fmla="*/ 619125 w 2987675"/>
                  <a:gd name="connsiteY28" fmla="*/ 333375 h 4565650"/>
                  <a:gd name="connsiteX29" fmla="*/ 2368550 w 2987675"/>
                  <a:gd name="connsiteY29" fmla="*/ 333375 h 4565650"/>
                  <a:gd name="connsiteX30" fmla="*/ 2368550 w 2987675"/>
                  <a:gd name="connsiteY30" fmla="*/ 130175 h 4565650"/>
                  <a:gd name="connsiteX31" fmla="*/ 619125 w 2987675"/>
                  <a:gd name="connsiteY31" fmla="*/ 130175 h 4565650"/>
                  <a:gd name="connsiteX32" fmla="*/ 598130 w 2987675"/>
                  <a:gd name="connsiteY32" fmla="*/ 0 h 4565650"/>
                  <a:gd name="connsiteX33" fmla="*/ 2389545 w 2987675"/>
                  <a:gd name="connsiteY33" fmla="*/ 0 h 4565650"/>
                  <a:gd name="connsiteX34" fmla="*/ 2499649 w 2987675"/>
                  <a:gd name="connsiteY34" fmla="*/ 110113 h 4565650"/>
                  <a:gd name="connsiteX35" fmla="*/ 2499649 w 2987675"/>
                  <a:gd name="connsiteY35" fmla="*/ 354145 h 4565650"/>
                  <a:gd name="connsiteX36" fmla="*/ 2389545 w 2987675"/>
                  <a:gd name="connsiteY36" fmla="*/ 464258 h 4565650"/>
                  <a:gd name="connsiteX37" fmla="*/ 2285393 w 2987675"/>
                  <a:gd name="connsiteY37" fmla="*/ 464258 h 4565650"/>
                  <a:gd name="connsiteX38" fmla="*/ 2285393 w 2987675"/>
                  <a:gd name="connsiteY38" fmla="*/ 744003 h 4565650"/>
                  <a:gd name="connsiteX39" fmla="*/ 2350860 w 2987675"/>
                  <a:gd name="connsiteY39" fmla="*/ 744003 h 4565650"/>
                  <a:gd name="connsiteX40" fmla="*/ 2987675 w 2987675"/>
                  <a:gd name="connsiteY40" fmla="*/ 1383845 h 4565650"/>
                  <a:gd name="connsiteX41" fmla="*/ 2987675 w 2987675"/>
                  <a:gd name="connsiteY41" fmla="*/ 3636684 h 4565650"/>
                  <a:gd name="connsiteX42" fmla="*/ 2350860 w 2987675"/>
                  <a:gd name="connsiteY42" fmla="*/ 4273550 h 4565650"/>
                  <a:gd name="connsiteX43" fmla="*/ 636815 w 2987675"/>
                  <a:gd name="connsiteY43" fmla="*/ 4273550 h 4565650"/>
                  <a:gd name="connsiteX44" fmla="*/ 0 w 2987675"/>
                  <a:gd name="connsiteY44" fmla="*/ 3636684 h 4565650"/>
                  <a:gd name="connsiteX45" fmla="*/ 0 w 2987675"/>
                  <a:gd name="connsiteY45" fmla="*/ 1383845 h 4565650"/>
                  <a:gd name="connsiteX46" fmla="*/ 636815 w 2987675"/>
                  <a:gd name="connsiteY46" fmla="*/ 744003 h 4565650"/>
                  <a:gd name="connsiteX47" fmla="*/ 702282 w 2987675"/>
                  <a:gd name="connsiteY47" fmla="*/ 744003 h 4565650"/>
                  <a:gd name="connsiteX48" fmla="*/ 702282 w 2987675"/>
                  <a:gd name="connsiteY48" fmla="*/ 464258 h 4565650"/>
                  <a:gd name="connsiteX49" fmla="*/ 598130 w 2987675"/>
                  <a:gd name="connsiteY49" fmla="*/ 464258 h 4565650"/>
                  <a:gd name="connsiteX50" fmla="*/ 488027 w 2987675"/>
                  <a:gd name="connsiteY50" fmla="*/ 354145 h 4565650"/>
                  <a:gd name="connsiteX51" fmla="*/ 488027 w 2987675"/>
                  <a:gd name="connsiteY51" fmla="*/ 110113 h 4565650"/>
                  <a:gd name="connsiteX52" fmla="*/ 598130 w 2987675"/>
                  <a:gd name="connsiteY52" fmla="*/ 0 h 456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2987675" h="4565650">
                    <a:moveTo>
                      <a:pt x="552885" y="4432300"/>
                    </a:moveTo>
                    <a:cubicBezTo>
                      <a:pt x="2441139" y="4432300"/>
                      <a:pt x="2441139" y="4432300"/>
                      <a:pt x="2441139" y="4432300"/>
                    </a:cubicBezTo>
                    <a:cubicBezTo>
                      <a:pt x="2476879" y="4432300"/>
                      <a:pt x="2506662" y="4461934"/>
                      <a:pt x="2506662" y="4500457"/>
                    </a:cubicBezTo>
                    <a:cubicBezTo>
                      <a:pt x="2506662" y="4536017"/>
                      <a:pt x="2476879" y="4565650"/>
                      <a:pt x="2441139" y="4565650"/>
                    </a:cubicBezTo>
                    <a:cubicBezTo>
                      <a:pt x="552885" y="4565650"/>
                      <a:pt x="552885" y="4565650"/>
                      <a:pt x="552885" y="4565650"/>
                    </a:cubicBezTo>
                    <a:cubicBezTo>
                      <a:pt x="517145" y="4565650"/>
                      <a:pt x="487362" y="4536017"/>
                      <a:pt x="487362" y="4500457"/>
                    </a:cubicBezTo>
                    <a:cubicBezTo>
                      <a:pt x="487362" y="4461934"/>
                      <a:pt x="517145" y="4432300"/>
                      <a:pt x="552885" y="4432300"/>
                    </a:cubicBezTo>
                    <a:close/>
                    <a:moveTo>
                      <a:pt x="636338" y="874713"/>
                    </a:moveTo>
                    <a:cubicBezTo>
                      <a:pt x="356460" y="874713"/>
                      <a:pt x="130175" y="1103936"/>
                      <a:pt x="130175" y="1383767"/>
                    </a:cubicBezTo>
                    <a:cubicBezTo>
                      <a:pt x="130175" y="1383767"/>
                      <a:pt x="130175" y="1383767"/>
                      <a:pt x="130175" y="3637299"/>
                    </a:cubicBezTo>
                    <a:cubicBezTo>
                      <a:pt x="130175" y="3917130"/>
                      <a:pt x="356460" y="4143376"/>
                      <a:pt x="636338" y="4143376"/>
                    </a:cubicBezTo>
                    <a:cubicBezTo>
                      <a:pt x="636338" y="4143376"/>
                      <a:pt x="636338" y="4143376"/>
                      <a:pt x="2351337" y="4143376"/>
                    </a:cubicBezTo>
                    <a:cubicBezTo>
                      <a:pt x="2631216" y="4143376"/>
                      <a:pt x="2857500" y="3917130"/>
                      <a:pt x="2857500" y="3637299"/>
                    </a:cubicBezTo>
                    <a:cubicBezTo>
                      <a:pt x="2857500" y="3637299"/>
                      <a:pt x="2857500" y="3637299"/>
                      <a:pt x="2857500" y="1383767"/>
                    </a:cubicBezTo>
                    <a:cubicBezTo>
                      <a:pt x="2857500" y="1103936"/>
                      <a:pt x="2631216" y="874713"/>
                      <a:pt x="2351337" y="874713"/>
                    </a:cubicBezTo>
                    <a:cubicBezTo>
                      <a:pt x="2351337" y="874713"/>
                      <a:pt x="2351337" y="874713"/>
                      <a:pt x="636338" y="874713"/>
                    </a:cubicBezTo>
                    <a:close/>
                    <a:moveTo>
                      <a:pt x="833437" y="463550"/>
                    </a:moveTo>
                    <a:cubicBezTo>
                      <a:pt x="833437" y="463550"/>
                      <a:pt x="833437" y="463550"/>
                      <a:pt x="833437" y="744538"/>
                    </a:cubicBezTo>
                    <a:cubicBezTo>
                      <a:pt x="833437" y="744538"/>
                      <a:pt x="833437" y="744538"/>
                      <a:pt x="1285603" y="744538"/>
                    </a:cubicBezTo>
                    <a:cubicBezTo>
                      <a:pt x="1285603" y="744538"/>
                      <a:pt x="1285603" y="744538"/>
                      <a:pt x="1285603" y="669807"/>
                    </a:cubicBezTo>
                    <a:cubicBezTo>
                      <a:pt x="1285603" y="633937"/>
                      <a:pt x="1315351" y="604044"/>
                      <a:pt x="1351048" y="604044"/>
                    </a:cubicBezTo>
                    <a:cubicBezTo>
                      <a:pt x="1351048" y="604044"/>
                      <a:pt x="1351048" y="604044"/>
                      <a:pt x="1636626" y="604044"/>
                    </a:cubicBezTo>
                    <a:cubicBezTo>
                      <a:pt x="1672324" y="604044"/>
                      <a:pt x="1702071" y="633937"/>
                      <a:pt x="1702071" y="669807"/>
                    </a:cubicBezTo>
                    <a:cubicBezTo>
                      <a:pt x="1702071" y="669807"/>
                      <a:pt x="1702071" y="669807"/>
                      <a:pt x="1702071" y="744538"/>
                    </a:cubicBezTo>
                    <a:cubicBezTo>
                      <a:pt x="1702071" y="744538"/>
                      <a:pt x="1702071" y="744538"/>
                      <a:pt x="2154237" y="744538"/>
                    </a:cubicBezTo>
                    <a:cubicBezTo>
                      <a:pt x="2154237" y="744538"/>
                      <a:pt x="2154237" y="744538"/>
                      <a:pt x="2154237" y="463550"/>
                    </a:cubicBezTo>
                    <a:cubicBezTo>
                      <a:pt x="2154237" y="463550"/>
                      <a:pt x="2154237" y="463550"/>
                      <a:pt x="833437" y="463550"/>
                    </a:cubicBezTo>
                    <a:close/>
                    <a:moveTo>
                      <a:pt x="619125" y="130175"/>
                    </a:moveTo>
                    <a:cubicBezTo>
                      <a:pt x="619125" y="130175"/>
                      <a:pt x="619125" y="130175"/>
                      <a:pt x="619125" y="333375"/>
                    </a:cubicBezTo>
                    <a:cubicBezTo>
                      <a:pt x="619125" y="333375"/>
                      <a:pt x="619125" y="333375"/>
                      <a:pt x="2368550" y="333375"/>
                    </a:cubicBezTo>
                    <a:cubicBezTo>
                      <a:pt x="2368550" y="333375"/>
                      <a:pt x="2368550" y="333375"/>
                      <a:pt x="2368550" y="130175"/>
                    </a:cubicBezTo>
                    <a:cubicBezTo>
                      <a:pt x="2368550" y="130175"/>
                      <a:pt x="2368550" y="130175"/>
                      <a:pt x="619125" y="130175"/>
                    </a:cubicBezTo>
                    <a:close/>
                    <a:moveTo>
                      <a:pt x="598130" y="0"/>
                    </a:moveTo>
                    <a:cubicBezTo>
                      <a:pt x="598130" y="0"/>
                      <a:pt x="598130" y="0"/>
                      <a:pt x="2389545" y="0"/>
                    </a:cubicBezTo>
                    <a:cubicBezTo>
                      <a:pt x="2452036" y="0"/>
                      <a:pt x="2499649" y="47616"/>
                      <a:pt x="2499649" y="110113"/>
                    </a:cubicBezTo>
                    <a:cubicBezTo>
                      <a:pt x="2499649" y="110113"/>
                      <a:pt x="2499649" y="110113"/>
                      <a:pt x="2499649" y="354145"/>
                    </a:cubicBezTo>
                    <a:cubicBezTo>
                      <a:pt x="2499649" y="416642"/>
                      <a:pt x="2452036" y="464258"/>
                      <a:pt x="2389545" y="464258"/>
                    </a:cubicBezTo>
                    <a:cubicBezTo>
                      <a:pt x="2389545" y="464258"/>
                      <a:pt x="2389545" y="464258"/>
                      <a:pt x="2285393" y="464258"/>
                    </a:cubicBezTo>
                    <a:cubicBezTo>
                      <a:pt x="2285393" y="464258"/>
                      <a:pt x="2285393" y="464258"/>
                      <a:pt x="2285393" y="744003"/>
                    </a:cubicBezTo>
                    <a:cubicBezTo>
                      <a:pt x="2285393" y="744003"/>
                      <a:pt x="2285393" y="744003"/>
                      <a:pt x="2350860" y="744003"/>
                    </a:cubicBezTo>
                    <a:cubicBezTo>
                      <a:pt x="2702001" y="744003"/>
                      <a:pt x="2987675" y="1029700"/>
                      <a:pt x="2987675" y="1383845"/>
                    </a:cubicBezTo>
                    <a:cubicBezTo>
                      <a:pt x="2987675" y="1383845"/>
                      <a:pt x="2987675" y="1383845"/>
                      <a:pt x="2987675" y="3636684"/>
                    </a:cubicBezTo>
                    <a:cubicBezTo>
                      <a:pt x="2987675" y="3987853"/>
                      <a:pt x="2702001" y="4273550"/>
                      <a:pt x="2350860" y="4273550"/>
                    </a:cubicBezTo>
                    <a:cubicBezTo>
                      <a:pt x="2350860" y="4273550"/>
                      <a:pt x="2350860" y="4273550"/>
                      <a:pt x="636815" y="4273550"/>
                    </a:cubicBezTo>
                    <a:cubicBezTo>
                      <a:pt x="285674" y="4273550"/>
                      <a:pt x="0" y="3987853"/>
                      <a:pt x="0" y="3636684"/>
                    </a:cubicBezTo>
                    <a:cubicBezTo>
                      <a:pt x="0" y="3636684"/>
                      <a:pt x="0" y="3636684"/>
                      <a:pt x="0" y="1383845"/>
                    </a:cubicBezTo>
                    <a:cubicBezTo>
                      <a:pt x="0" y="1029700"/>
                      <a:pt x="285674" y="744003"/>
                      <a:pt x="636815" y="744003"/>
                    </a:cubicBezTo>
                    <a:cubicBezTo>
                      <a:pt x="636815" y="744003"/>
                      <a:pt x="636815" y="744003"/>
                      <a:pt x="702282" y="744003"/>
                    </a:cubicBezTo>
                    <a:cubicBezTo>
                      <a:pt x="702282" y="744003"/>
                      <a:pt x="702282" y="744003"/>
                      <a:pt x="702282" y="464258"/>
                    </a:cubicBezTo>
                    <a:cubicBezTo>
                      <a:pt x="702282" y="464258"/>
                      <a:pt x="702282" y="464258"/>
                      <a:pt x="598130" y="464258"/>
                    </a:cubicBezTo>
                    <a:cubicBezTo>
                      <a:pt x="535639" y="464258"/>
                      <a:pt x="488027" y="416642"/>
                      <a:pt x="488027" y="354145"/>
                    </a:cubicBezTo>
                    <a:cubicBezTo>
                      <a:pt x="488027" y="354145"/>
                      <a:pt x="488027" y="354145"/>
                      <a:pt x="488027" y="110113"/>
                    </a:cubicBezTo>
                    <a:cubicBezTo>
                      <a:pt x="488027" y="47616"/>
                      <a:pt x="535639" y="0"/>
                      <a:pt x="598130" y="0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128" name="Freeform 127"/>
              <p:cNvSpPr>
                <a:spLocks/>
              </p:cNvSpPr>
              <p:nvPr/>
            </p:nvSpPr>
            <p:spPr bwMode="auto">
              <a:xfrm>
                <a:off x="5790438" y="3116199"/>
                <a:ext cx="611505" cy="733044"/>
              </a:xfrm>
              <a:custGeom>
                <a:avLst/>
                <a:gdLst>
                  <a:gd name="connsiteX0" fmla="*/ 0 w 2547938"/>
                  <a:gd name="connsiteY0" fmla="*/ 1592263 h 3054350"/>
                  <a:gd name="connsiteX1" fmla="*/ 2547938 w 2547938"/>
                  <a:gd name="connsiteY1" fmla="*/ 1592263 h 3054350"/>
                  <a:gd name="connsiteX2" fmla="*/ 2547938 w 2547938"/>
                  <a:gd name="connsiteY2" fmla="*/ 1745443 h 3054350"/>
                  <a:gd name="connsiteX3" fmla="*/ 2547938 w 2547938"/>
                  <a:gd name="connsiteY3" fmla="*/ 2583992 h 3054350"/>
                  <a:gd name="connsiteX4" fmla="*/ 2074665 w 2547938"/>
                  <a:gd name="connsiteY4" fmla="*/ 3054350 h 3054350"/>
                  <a:gd name="connsiteX5" fmla="*/ 473274 w 2547938"/>
                  <a:gd name="connsiteY5" fmla="*/ 3054350 h 3054350"/>
                  <a:gd name="connsiteX6" fmla="*/ 0 w 2547938"/>
                  <a:gd name="connsiteY6" fmla="*/ 2583992 h 3054350"/>
                  <a:gd name="connsiteX7" fmla="*/ 0 w 2547938"/>
                  <a:gd name="connsiteY7" fmla="*/ 1605227 h 3054350"/>
                  <a:gd name="connsiteX8" fmla="*/ 473274 w 2547938"/>
                  <a:gd name="connsiteY8" fmla="*/ 0 h 3054350"/>
                  <a:gd name="connsiteX9" fmla="*/ 2074665 w 2547938"/>
                  <a:gd name="connsiteY9" fmla="*/ 0 h 3054350"/>
                  <a:gd name="connsiteX10" fmla="*/ 2547938 w 2547938"/>
                  <a:gd name="connsiteY10" fmla="*/ 470358 h 3054350"/>
                  <a:gd name="connsiteX11" fmla="*/ 2547938 w 2547938"/>
                  <a:gd name="connsiteY11" fmla="*/ 1222596 h 3054350"/>
                  <a:gd name="connsiteX12" fmla="*/ 2547938 w 2547938"/>
                  <a:gd name="connsiteY12" fmla="*/ 1460500 h 3054350"/>
                  <a:gd name="connsiteX13" fmla="*/ 0 w 2547938"/>
                  <a:gd name="connsiteY13" fmla="*/ 1460500 h 3054350"/>
                  <a:gd name="connsiteX14" fmla="*/ 0 w 2547938"/>
                  <a:gd name="connsiteY14" fmla="*/ 1392660 h 3054350"/>
                  <a:gd name="connsiteX15" fmla="*/ 0 w 2547938"/>
                  <a:gd name="connsiteY15" fmla="*/ 470358 h 3054350"/>
                  <a:gd name="connsiteX16" fmla="*/ 473274 w 2547938"/>
                  <a:gd name="connsiteY16" fmla="*/ 0 h 305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47938" h="3054350">
                    <a:moveTo>
                      <a:pt x="0" y="1592263"/>
                    </a:moveTo>
                    <a:lnTo>
                      <a:pt x="2547938" y="1592263"/>
                    </a:lnTo>
                    <a:lnTo>
                      <a:pt x="2547938" y="1745443"/>
                    </a:lnTo>
                    <a:cubicBezTo>
                      <a:pt x="2547938" y="2231712"/>
                      <a:pt x="2547938" y="2583992"/>
                      <a:pt x="2547938" y="2583992"/>
                    </a:cubicBezTo>
                    <a:cubicBezTo>
                      <a:pt x="2547938" y="2842987"/>
                      <a:pt x="2333626" y="3054350"/>
                      <a:pt x="2074665" y="3054350"/>
                    </a:cubicBezTo>
                    <a:cubicBezTo>
                      <a:pt x="473274" y="3054350"/>
                      <a:pt x="473274" y="3054350"/>
                      <a:pt x="473274" y="3054350"/>
                    </a:cubicBezTo>
                    <a:cubicBezTo>
                      <a:pt x="214313" y="3054350"/>
                      <a:pt x="0" y="2842987"/>
                      <a:pt x="0" y="2583992"/>
                    </a:cubicBezTo>
                    <a:cubicBezTo>
                      <a:pt x="0" y="1838266"/>
                      <a:pt x="0" y="1651835"/>
                      <a:pt x="0" y="1605227"/>
                    </a:cubicBezTo>
                    <a:close/>
                    <a:moveTo>
                      <a:pt x="473274" y="0"/>
                    </a:moveTo>
                    <a:cubicBezTo>
                      <a:pt x="2074665" y="0"/>
                      <a:pt x="2074665" y="0"/>
                      <a:pt x="2074665" y="0"/>
                    </a:cubicBezTo>
                    <a:cubicBezTo>
                      <a:pt x="2333626" y="0"/>
                      <a:pt x="2547938" y="211364"/>
                      <a:pt x="2547938" y="470358"/>
                    </a:cubicBezTo>
                    <a:cubicBezTo>
                      <a:pt x="2547938" y="720422"/>
                      <a:pt x="2547938" y="977556"/>
                      <a:pt x="2547938" y="1222596"/>
                    </a:cubicBezTo>
                    <a:lnTo>
                      <a:pt x="2547938" y="1460500"/>
                    </a:lnTo>
                    <a:lnTo>
                      <a:pt x="0" y="1460500"/>
                    </a:lnTo>
                    <a:lnTo>
                      <a:pt x="0" y="1392660"/>
                    </a:lnTo>
                    <a:cubicBezTo>
                      <a:pt x="0" y="470358"/>
                      <a:pt x="0" y="470358"/>
                      <a:pt x="0" y="470358"/>
                    </a:cubicBezTo>
                    <a:cubicBezTo>
                      <a:pt x="0" y="211364"/>
                      <a:pt x="214313" y="0"/>
                      <a:pt x="473274" y="0"/>
                    </a:cubicBezTo>
                    <a:close/>
                  </a:path>
                </a:pathLst>
              </a:custGeom>
              <a:solidFill>
                <a:srgbClr val="98A6C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</p:grpSp>
      </p:grpSp>
      <p:cxnSp>
        <p:nvCxnSpPr>
          <p:cNvPr id="129" name="Straight Arrow Connector 128"/>
          <p:cNvCxnSpPr/>
          <p:nvPr/>
        </p:nvCxnSpPr>
        <p:spPr>
          <a:xfrm>
            <a:off x="4509427" y="5052787"/>
            <a:ext cx="564663" cy="0"/>
          </a:xfrm>
          <a:prstGeom prst="straightConnector1">
            <a:avLst/>
          </a:prstGeom>
          <a:ln w="31750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Freeform 15">
            <a:extLst>
              <a:ext uri="{FF2B5EF4-FFF2-40B4-BE49-F238E27FC236}">
                <a16:creationId xmlns:a16="http://schemas.microsoft.com/office/drawing/2014/main" id="{C49F8F87-804D-4785-B3FF-71E118F98807}"/>
              </a:ext>
            </a:extLst>
          </p:cNvPr>
          <p:cNvSpPr>
            <a:spLocks noEditPoints="1"/>
          </p:cNvSpPr>
          <p:nvPr/>
        </p:nvSpPr>
        <p:spPr bwMode="auto">
          <a:xfrm>
            <a:off x="5843161" y="5008528"/>
            <a:ext cx="584565" cy="182451"/>
          </a:xfrm>
          <a:custGeom>
            <a:avLst/>
            <a:gdLst>
              <a:gd name="T0" fmla="*/ 10 w 1384"/>
              <a:gd name="T1" fmla="*/ 183 h 431"/>
              <a:gd name="T2" fmla="*/ 0 w 1384"/>
              <a:gd name="T3" fmla="*/ 10 h 431"/>
              <a:gd name="T4" fmla="*/ 292 w 1384"/>
              <a:gd name="T5" fmla="*/ 0 h 431"/>
              <a:gd name="T6" fmla="*/ 302 w 1384"/>
              <a:gd name="T7" fmla="*/ 173 h 431"/>
              <a:gd name="T8" fmla="*/ 662 w 1384"/>
              <a:gd name="T9" fmla="*/ 173 h 431"/>
              <a:gd name="T10" fmla="*/ 652 w 1384"/>
              <a:gd name="T11" fmla="*/ 0 h 431"/>
              <a:gd name="T12" fmla="*/ 361 w 1384"/>
              <a:gd name="T13" fmla="*/ 10 h 431"/>
              <a:gd name="T14" fmla="*/ 371 w 1384"/>
              <a:gd name="T15" fmla="*/ 183 h 431"/>
              <a:gd name="T16" fmla="*/ 662 w 1384"/>
              <a:gd name="T17" fmla="*/ 173 h 431"/>
              <a:gd name="T18" fmla="*/ 1023 w 1384"/>
              <a:gd name="T19" fmla="*/ 10 h 431"/>
              <a:gd name="T20" fmla="*/ 732 w 1384"/>
              <a:gd name="T21" fmla="*/ 0 h 431"/>
              <a:gd name="T22" fmla="*/ 722 w 1384"/>
              <a:gd name="T23" fmla="*/ 173 h 431"/>
              <a:gd name="T24" fmla="*/ 1013 w 1384"/>
              <a:gd name="T25" fmla="*/ 183 h 431"/>
              <a:gd name="T26" fmla="*/ 1384 w 1384"/>
              <a:gd name="T27" fmla="*/ 173 h 431"/>
              <a:gd name="T28" fmla="*/ 1374 w 1384"/>
              <a:gd name="T29" fmla="*/ 0 h 431"/>
              <a:gd name="T30" fmla="*/ 1082 w 1384"/>
              <a:gd name="T31" fmla="*/ 10 h 431"/>
              <a:gd name="T32" fmla="*/ 1092 w 1384"/>
              <a:gd name="T33" fmla="*/ 183 h 431"/>
              <a:gd name="T34" fmla="*/ 1384 w 1384"/>
              <a:gd name="T35" fmla="*/ 173 h 431"/>
              <a:gd name="T36" fmla="*/ 302 w 1384"/>
              <a:gd name="T37" fmla="*/ 258 h 431"/>
              <a:gd name="T38" fmla="*/ 10 w 1384"/>
              <a:gd name="T39" fmla="*/ 248 h 431"/>
              <a:gd name="T40" fmla="*/ 0 w 1384"/>
              <a:gd name="T41" fmla="*/ 421 h 431"/>
              <a:gd name="T42" fmla="*/ 292 w 1384"/>
              <a:gd name="T43" fmla="*/ 431 h 431"/>
              <a:gd name="T44" fmla="*/ 662 w 1384"/>
              <a:gd name="T45" fmla="*/ 421 h 431"/>
              <a:gd name="T46" fmla="*/ 652 w 1384"/>
              <a:gd name="T47" fmla="*/ 248 h 431"/>
              <a:gd name="T48" fmla="*/ 361 w 1384"/>
              <a:gd name="T49" fmla="*/ 258 h 431"/>
              <a:gd name="T50" fmla="*/ 371 w 1384"/>
              <a:gd name="T51" fmla="*/ 431 h 431"/>
              <a:gd name="T52" fmla="*/ 662 w 1384"/>
              <a:gd name="T53" fmla="*/ 421 h 431"/>
              <a:gd name="T54" fmla="*/ 1023 w 1384"/>
              <a:gd name="T55" fmla="*/ 258 h 431"/>
              <a:gd name="T56" fmla="*/ 732 w 1384"/>
              <a:gd name="T57" fmla="*/ 248 h 431"/>
              <a:gd name="T58" fmla="*/ 722 w 1384"/>
              <a:gd name="T59" fmla="*/ 421 h 431"/>
              <a:gd name="T60" fmla="*/ 1013 w 1384"/>
              <a:gd name="T61" fmla="*/ 431 h 431"/>
              <a:gd name="T62" fmla="*/ 1384 w 1384"/>
              <a:gd name="T63" fmla="*/ 421 h 431"/>
              <a:gd name="T64" fmla="*/ 1374 w 1384"/>
              <a:gd name="T65" fmla="*/ 248 h 431"/>
              <a:gd name="T66" fmla="*/ 1082 w 1384"/>
              <a:gd name="T67" fmla="*/ 258 h 431"/>
              <a:gd name="T68" fmla="*/ 1092 w 1384"/>
              <a:gd name="T69" fmla="*/ 431 h 431"/>
              <a:gd name="T70" fmla="*/ 1384 w 1384"/>
              <a:gd name="T71" fmla="*/ 421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384" h="431">
                <a:moveTo>
                  <a:pt x="292" y="183"/>
                </a:moveTo>
                <a:cubicBezTo>
                  <a:pt x="10" y="183"/>
                  <a:pt x="10" y="183"/>
                  <a:pt x="10" y="183"/>
                </a:cubicBezTo>
                <a:cubicBezTo>
                  <a:pt x="4" y="183"/>
                  <a:pt x="0" y="179"/>
                  <a:pt x="0" y="173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5"/>
                  <a:pt x="4" y="0"/>
                  <a:pt x="10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97" y="0"/>
                  <a:pt x="302" y="5"/>
                  <a:pt x="302" y="10"/>
                </a:cubicBezTo>
                <a:cubicBezTo>
                  <a:pt x="302" y="173"/>
                  <a:pt x="302" y="173"/>
                  <a:pt x="302" y="173"/>
                </a:cubicBezTo>
                <a:cubicBezTo>
                  <a:pt x="302" y="179"/>
                  <a:pt x="297" y="183"/>
                  <a:pt x="292" y="183"/>
                </a:cubicBezTo>
                <a:close/>
                <a:moveTo>
                  <a:pt x="662" y="173"/>
                </a:moveTo>
                <a:cubicBezTo>
                  <a:pt x="662" y="10"/>
                  <a:pt x="662" y="10"/>
                  <a:pt x="662" y="10"/>
                </a:cubicBezTo>
                <a:cubicBezTo>
                  <a:pt x="662" y="5"/>
                  <a:pt x="658" y="0"/>
                  <a:pt x="652" y="0"/>
                </a:cubicBezTo>
                <a:cubicBezTo>
                  <a:pt x="371" y="0"/>
                  <a:pt x="371" y="0"/>
                  <a:pt x="371" y="0"/>
                </a:cubicBezTo>
                <a:cubicBezTo>
                  <a:pt x="365" y="0"/>
                  <a:pt x="361" y="5"/>
                  <a:pt x="361" y="10"/>
                </a:cubicBezTo>
                <a:cubicBezTo>
                  <a:pt x="361" y="173"/>
                  <a:pt x="361" y="173"/>
                  <a:pt x="361" y="173"/>
                </a:cubicBezTo>
                <a:cubicBezTo>
                  <a:pt x="361" y="179"/>
                  <a:pt x="365" y="183"/>
                  <a:pt x="371" y="183"/>
                </a:cubicBezTo>
                <a:cubicBezTo>
                  <a:pt x="652" y="183"/>
                  <a:pt x="652" y="183"/>
                  <a:pt x="652" y="183"/>
                </a:cubicBezTo>
                <a:cubicBezTo>
                  <a:pt x="658" y="183"/>
                  <a:pt x="662" y="179"/>
                  <a:pt x="662" y="173"/>
                </a:cubicBezTo>
                <a:close/>
                <a:moveTo>
                  <a:pt x="1023" y="173"/>
                </a:moveTo>
                <a:cubicBezTo>
                  <a:pt x="1023" y="10"/>
                  <a:pt x="1023" y="10"/>
                  <a:pt x="1023" y="10"/>
                </a:cubicBezTo>
                <a:cubicBezTo>
                  <a:pt x="1023" y="5"/>
                  <a:pt x="1019" y="0"/>
                  <a:pt x="1013" y="0"/>
                </a:cubicBezTo>
                <a:cubicBezTo>
                  <a:pt x="732" y="0"/>
                  <a:pt x="732" y="0"/>
                  <a:pt x="732" y="0"/>
                </a:cubicBezTo>
                <a:cubicBezTo>
                  <a:pt x="726" y="0"/>
                  <a:pt x="722" y="5"/>
                  <a:pt x="722" y="10"/>
                </a:cubicBezTo>
                <a:cubicBezTo>
                  <a:pt x="722" y="173"/>
                  <a:pt x="722" y="173"/>
                  <a:pt x="722" y="173"/>
                </a:cubicBezTo>
                <a:cubicBezTo>
                  <a:pt x="722" y="179"/>
                  <a:pt x="726" y="183"/>
                  <a:pt x="732" y="183"/>
                </a:cubicBezTo>
                <a:cubicBezTo>
                  <a:pt x="1013" y="183"/>
                  <a:pt x="1013" y="183"/>
                  <a:pt x="1013" y="183"/>
                </a:cubicBezTo>
                <a:cubicBezTo>
                  <a:pt x="1019" y="183"/>
                  <a:pt x="1023" y="179"/>
                  <a:pt x="1023" y="173"/>
                </a:cubicBezTo>
                <a:close/>
                <a:moveTo>
                  <a:pt x="1384" y="173"/>
                </a:moveTo>
                <a:cubicBezTo>
                  <a:pt x="1384" y="10"/>
                  <a:pt x="1384" y="10"/>
                  <a:pt x="1384" y="10"/>
                </a:cubicBezTo>
                <a:cubicBezTo>
                  <a:pt x="1384" y="5"/>
                  <a:pt x="1380" y="0"/>
                  <a:pt x="1374" y="0"/>
                </a:cubicBezTo>
                <a:cubicBezTo>
                  <a:pt x="1092" y="0"/>
                  <a:pt x="1092" y="0"/>
                  <a:pt x="1092" y="0"/>
                </a:cubicBezTo>
                <a:cubicBezTo>
                  <a:pt x="1087" y="0"/>
                  <a:pt x="1082" y="5"/>
                  <a:pt x="1082" y="10"/>
                </a:cubicBezTo>
                <a:cubicBezTo>
                  <a:pt x="1082" y="173"/>
                  <a:pt x="1082" y="173"/>
                  <a:pt x="1082" y="173"/>
                </a:cubicBezTo>
                <a:cubicBezTo>
                  <a:pt x="1082" y="179"/>
                  <a:pt x="1087" y="183"/>
                  <a:pt x="1092" y="183"/>
                </a:cubicBezTo>
                <a:cubicBezTo>
                  <a:pt x="1374" y="183"/>
                  <a:pt x="1374" y="183"/>
                  <a:pt x="1374" y="183"/>
                </a:cubicBezTo>
                <a:cubicBezTo>
                  <a:pt x="1380" y="183"/>
                  <a:pt x="1384" y="179"/>
                  <a:pt x="1384" y="173"/>
                </a:cubicBezTo>
                <a:close/>
                <a:moveTo>
                  <a:pt x="302" y="421"/>
                </a:moveTo>
                <a:cubicBezTo>
                  <a:pt x="302" y="258"/>
                  <a:pt x="302" y="258"/>
                  <a:pt x="302" y="258"/>
                </a:cubicBezTo>
                <a:cubicBezTo>
                  <a:pt x="302" y="253"/>
                  <a:pt x="297" y="248"/>
                  <a:pt x="292" y="248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4" y="248"/>
                  <a:pt x="0" y="253"/>
                  <a:pt x="0" y="258"/>
                </a:cubicBezTo>
                <a:cubicBezTo>
                  <a:pt x="0" y="421"/>
                  <a:pt x="0" y="421"/>
                  <a:pt x="0" y="421"/>
                </a:cubicBezTo>
                <a:cubicBezTo>
                  <a:pt x="0" y="427"/>
                  <a:pt x="4" y="431"/>
                  <a:pt x="10" y="431"/>
                </a:cubicBezTo>
                <a:cubicBezTo>
                  <a:pt x="292" y="431"/>
                  <a:pt x="292" y="431"/>
                  <a:pt x="292" y="431"/>
                </a:cubicBezTo>
                <a:cubicBezTo>
                  <a:pt x="297" y="431"/>
                  <a:pt x="302" y="427"/>
                  <a:pt x="302" y="421"/>
                </a:cubicBezTo>
                <a:close/>
                <a:moveTo>
                  <a:pt x="662" y="421"/>
                </a:moveTo>
                <a:cubicBezTo>
                  <a:pt x="662" y="258"/>
                  <a:pt x="662" y="258"/>
                  <a:pt x="662" y="258"/>
                </a:cubicBezTo>
                <a:cubicBezTo>
                  <a:pt x="662" y="253"/>
                  <a:pt x="658" y="248"/>
                  <a:pt x="652" y="248"/>
                </a:cubicBezTo>
                <a:cubicBezTo>
                  <a:pt x="371" y="248"/>
                  <a:pt x="371" y="248"/>
                  <a:pt x="371" y="248"/>
                </a:cubicBezTo>
                <a:cubicBezTo>
                  <a:pt x="365" y="248"/>
                  <a:pt x="361" y="253"/>
                  <a:pt x="361" y="258"/>
                </a:cubicBezTo>
                <a:cubicBezTo>
                  <a:pt x="361" y="421"/>
                  <a:pt x="361" y="421"/>
                  <a:pt x="361" y="421"/>
                </a:cubicBezTo>
                <a:cubicBezTo>
                  <a:pt x="361" y="427"/>
                  <a:pt x="365" y="431"/>
                  <a:pt x="371" y="431"/>
                </a:cubicBezTo>
                <a:cubicBezTo>
                  <a:pt x="652" y="431"/>
                  <a:pt x="652" y="431"/>
                  <a:pt x="652" y="431"/>
                </a:cubicBezTo>
                <a:cubicBezTo>
                  <a:pt x="658" y="431"/>
                  <a:pt x="662" y="427"/>
                  <a:pt x="662" y="421"/>
                </a:cubicBezTo>
                <a:close/>
                <a:moveTo>
                  <a:pt x="1023" y="421"/>
                </a:moveTo>
                <a:cubicBezTo>
                  <a:pt x="1023" y="258"/>
                  <a:pt x="1023" y="258"/>
                  <a:pt x="1023" y="258"/>
                </a:cubicBezTo>
                <a:cubicBezTo>
                  <a:pt x="1023" y="253"/>
                  <a:pt x="1019" y="248"/>
                  <a:pt x="1013" y="248"/>
                </a:cubicBezTo>
                <a:cubicBezTo>
                  <a:pt x="732" y="248"/>
                  <a:pt x="732" y="248"/>
                  <a:pt x="732" y="248"/>
                </a:cubicBezTo>
                <a:cubicBezTo>
                  <a:pt x="726" y="248"/>
                  <a:pt x="722" y="253"/>
                  <a:pt x="722" y="258"/>
                </a:cubicBezTo>
                <a:cubicBezTo>
                  <a:pt x="722" y="421"/>
                  <a:pt x="722" y="421"/>
                  <a:pt x="722" y="421"/>
                </a:cubicBezTo>
                <a:cubicBezTo>
                  <a:pt x="722" y="427"/>
                  <a:pt x="726" y="431"/>
                  <a:pt x="732" y="431"/>
                </a:cubicBezTo>
                <a:cubicBezTo>
                  <a:pt x="1013" y="431"/>
                  <a:pt x="1013" y="431"/>
                  <a:pt x="1013" y="431"/>
                </a:cubicBezTo>
                <a:cubicBezTo>
                  <a:pt x="1019" y="431"/>
                  <a:pt x="1023" y="427"/>
                  <a:pt x="1023" y="421"/>
                </a:cubicBezTo>
                <a:close/>
                <a:moveTo>
                  <a:pt x="1384" y="421"/>
                </a:moveTo>
                <a:cubicBezTo>
                  <a:pt x="1384" y="258"/>
                  <a:pt x="1384" y="258"/>
                  <a:pt x="1384" y="258"/>
                </a:cubicBezTo>
                <a:cubicBezTo>
                  <a:pt x="1384" y="253"/>
                  <a:pt x="1380" y="248"/>
                  <a:pt x="1374" y="248"/>
                </a:cubicBezTo>
                <a:cubicBezTo>
                  <a:pt x="1092" y="248"/>
                  <a:pt x="1092" y="248"/>
                  <a:pt x="1092" y="248"/>
                </a:cubicBezTo>
                <a:cubicBezTo>
                  <a:pt x="1087" y="248"/>
                  <a:pt x="1082" y="253"/>
                  <a:pt x="1082" y="258"/>
                </a:cubicBezTo>
                <a:cubicBezTo>
                  <a:pt x="1082" y="421"/>
                  <a:pt x="1082" y="421"/>
                  <a:pt x="1082" y="421"/>
                </a:cubicBezTo>
                <a:cubicBezTo>
                  <a:pt x="1082" y="427"/>
                  <a:pt x="1087" y="431"/>
                  <a:pt x="1092" y="431"/>
                </a:cubicBezTo>
                <a:cubicBezTo>
                  <a:pt x="1374" y="431"/>
                  <a:pt x="1374" y="431"/>
                  <a:pt x="1374" y="431"/>
                </a:cubicBezTo>
                <a:cubicBezTo>
                  <a:pt x="1380" y="431"/>
                  <a:pt x="1384" y="427"/>
                  <a:pt x="1384" y="421"/>
                </a:cubicBezTo>
                <a:close/>
              </a:path>
            </a:pathLst>
          </a:custGeom>
          <a:solidFill>
            <a:srgbClr val="98A6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8" name="Freeform 16">
            <a:extLst>
              <a:ext uri="{FF2B5EF4-FFF2-40B4-BE49-F238E27FC236}">
                <a16:creationId xmlns:a16="http://schemas.microsoft.com/office/drawing/2014/main" id="{D5D864F2-D4FC-4684-89BF-B212682AA995}"/>
              </a:ext>
            </a:extLst>
          </p:cNvPr>
          <p:cNvSpPr>
            <a:spLocks noEditPoints="1"/>
          </p:cNvSpPr>
          <p:nvPr/>
        </p:nvSpPr>
        <p:spPr bwMode="auto">
          <a:xfrm>
            <a:off x="5727240" y="4663924"/>
            <a:ext cx="816406" cy="773104"/>
          </a:xfrm>
          <a:custGeom>
            <a:avLst/>
            <a:gdLst>
              <a:gd name="T0" fmla="*/ 1687 w 1932"/>
              <a:gd name="T1" fmla="*/ 15 h 1828"/>
              <a:gd name="T2" fmla="*/ 1735 w 1932"/>
              <a:gd name="T3" fmla="*/ 587 h 1828"/>
              <a:gd name="T4" fmla="*/ 1719 w 1932"/>
              <a:gd name="T5" fmla="*/ 604 h 1828"/>
              <a:gd name="T6" fmla="*/ 1417 w 1932"/>
              <a:gd name="T7" fmla="*/ 604 h 1828"/>
              <a:gd name="T8" fmla="*/ 1401 w 1932"/>
              <a:gd name="T9" fmla="*/ 587 h 1828"/>
              <a:gd name="T10" fmla="*/ 1449 w 1932"/>
              <a:gd name="T11" fmla="*/ 15 h 1828"/>
              <a:gd name="T12" fmla="*/ 1465 w 1932"/>
              <a:gd name="T13" fmla="*/ 0 h 1828"/>
              <a:gd name="T14" fmla="*/ 1671 w 1932"/>
              <a:gd name="T15" fmla="*/ 0 h 1828"/>
              <a:gd name="T16" fmla="*/ 1687 w 1932"/>
              <a:gd name="T17" fmla="*/ 15 h 1828"/>
              <a:gd name="T18" fmla="*/ 1932 w 1932"/>
              <a:gd name="T19" fmla="*/ 1706 h 1828"/>
              <a:gd name="T20" fmla="*/ 1932 w 1932"/>
              <a:gd name="T21" fmla="*/ 1806 h 1828"/>
              <a:gd name="T22" fmla="*/ 1910 w 1932"/>
              <a:gd name="T23" fmla="*/ 1828 h 1828"/>
              <a:gd name="T24" fmla="*/ 22 w 1932"/>
              <a:gd name="T25" fmla="*/ 1828 h 1828"/>
              <a:gd name="T26" fmla="*/ 0 w 1932"/>
              <a:gd name="T27" fmla="*/ 1806 h 1828"/>
              <a:gd name="T28" fmla="*/ 0 w 1932"/>
              <a:gd name="T29" fmla="*/ 1706 h 1828"/>
              <a:gd name="T30" fmla="*/ 22 w 1932"/>
              <a:gd name="T31" fmla="*/ 1684 h 1828"/>
              <a:gd name="T32" fmla="*/ 98 w 1932"/>
              <a:gd name="T33" fmla="*/ 1684 h 1828"/>
              <a:gd name="T34" fmla="*/ 98 w 1932"/>
              <a:gd name="T35" fmla="*/ 1647 h 1828"/>
              <a:gd name="T36" fmla="*/ 120 w 1932"/>
              <a:gd name="T37" fmla="*/ 1625 h 1828"/>
              <a:gd name="T38" fmla="*/ 1812 w 1932"/>
              <a:gd name="T39" fmla="*/ 1625 h 1828"/>
              <a:gd name="T40" fmla="*/ 1834 w 1932"/>
              <a:gd name="T41" fmla="*/ 1647 h 1828"/>
              <a:gd name="T42" fmla="*/ 1834 w 1932"/>
              <a:gd name="T43" fmla="*/ 1684 h 1828"/>
              <a:gd name="T44" fmla="*/ 1910 w 1932"/>
              <a:gd name="T45" fmla="*/ 1684 h 1828"/>
              <a:gd name="T46" fmla="*/ 1932 w 1932"/>
              <a:gd name="T47" fmla="*/ 1706 h 1828"/>
              <a:gd name="T48" fmla="*/ 1812 w 1932"/>
              <a:gd name="T49" fmla="*/ 670 h 1828"/>
              <a:gd name="T50" fmla="*/ 1790 w 1932"/>
              <a:gd name="T51" fmla="*/ 648 h 1828"/>
              <a:gd name="T52" fmla="*/ 1286 w 1932"/>
              <a:gd name="T53" fmla="*/ 648 h 1828"/>
              <a:gd name="T54" fmla="*/ 713 w 1932"/>
              <a:gd name="T55" fmla="*/ 459 h 1828"/>
              <a:gd name="T56" fmla="*/ 693 w 1932"/>
              <a:gd name="T57" fmla="*/ 462 h 1828"/>
              <a:gd name="T58" fmla="*/ 684 w 1932"/>
              <a:gd name="T59" fmla="*/ 480 h 1828"/>
              <a:gd name="T60" fmla="*/ 684 w 1932"/>
              <a:gd name="T61" fmla="*/ 638 h 1828"/>
              <a:gd name="T62" fmla="*/ 147 w 1932"/>
              <a:gd name="T63" fmla="*/ 459 h 1828"/>
              <a:gd name="T64" fmla="*/ 127 w 1932"/>
              <a:gd name="T65" fmla="*/ 462 h 1828"/>
              <a:gd name="T66" fmla="*/ 118 w 1932"/>
              <a:gd name="T67" fmla="*/ 480 h 1828"/>
              <a:gd name="T68" fmla="*/ 118 w 1932"/>
              <a:gd name="T69" fmla="*/ 1581 h 1828"/>
              <a:gd name="T70" fmla="*/ 162 w 1932"/>
              <a:gd name="T71" fmla="*/ 1581 h 1828"/>
              <a:gd name="T72" fmla="*/ 162 w 1932"/>
              <a:gd name="T73" fmla="*/ 510 h 1828"/>
              <a:gd name="T74" fmla="*/ 699 w 1932"/>
              <a:gd name="T75" fmla="*/ 689 h 1828"/>
              <a:gd name="T76" fmla="*/ 719 w 1932"/>
              <a:gd name="T77" fmla="*/ 686 h 1828"/>
              <a:gd name="T78" fmla="*/ 728 w 1932"/>
              <a:gd name="T79" fmla="*/ 668 h 1828"/>
              <a:gd name="T80" fmla="*/ 728 w 1932"/>
              <a:gd name="T81" fmla="*/ 510 h 1828"/>
              <a:gd name="T82" fmla="*/ 1275 w 1932"/>
              <a:gd name="T83" fmla="*/ 691 h 1828"/>
              <a:gd name="T84" fmla="*/ 1282 w 1932"/>
              <a:gd name="T85" fmla="*/ 692 h 1828"/>
              <a:gd name="T86" fmla="*/ 1768 w 1932"/>
              <a:gd name="T87" fmla="*/ 692 h 1828"/>
              <a:gd name="T88" fmla="*/ 1768 w 1932"/>
              <a:gd name="T89" fmla="*/ 1581 h 1828"/>
              <a:gd name="T90" fmla="*/ 1812 w 1932"/>
              <a:gd name="T91" fmla="*/ 1581 h 1828"/>
              <a:gd name="T92" fmla="*/ 1812 w 1932"/>
              <a:gd name="T93" fmla="*/ 670 h 1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932" h="1828">
                <a:moveTo>
                  <a:pt x="1687" y="15"/>
                </a:moveTo>
                <a:cubicBezTo>
                  <a:pt x="1735" y="587"/>
                  <a:pt x="1735" y="587"/>
                  <a:pt x="1735" y="587"/>
                </a:cubicBezTo>
                <a:cubicBezTo>
                  <a:pt x="1736" y="596"/>
                  <a:pt x="1728" y="604"/>
                  <a:pt x="1719" y="604"/>
                </a:cubicBezTo>
                <a:cubicBezTo>
                  <a:pt x="1417" y="604"/>
                  <a:pt x="1417" y="604"/>
                  <a:pt x="1417" y="604"/>
                </a:cubicBezTo>
                <a:cubicBezTo>
                  <a:pt x="1407" y="604"/>
                  <a:pt x="1400" y="596"/>
                  <a:pt x="1401" y="587"/>
                </a:cubicBezTo>
                <a:cubicBezTo>
                  <a:pt x="1449" y="15"/>
                  <a:pt x="1449" y="15"/>
                  <a:pt x="1449" y="15"/>
                </a:cubicBezTo>
                <a:cubicBezTo>
                  <a:pt x="1450" y="6"/>
                  <a:pt x="1457" y="0"/>
                  <a:pt x="1465" y="0"/>
                </a:cubicBezTo>
                <a:cubicBezTo>
                  <a:pt x="1671" y="0"/>
                  <a:pt x="1671" y="0"/>
                  <a:pt x="1671" y="0"/>
                </a:cubicBezTo>
                <a:cubicBezTo>
                  <a:pt x="1679" y="0"/>
                  <a:pt x="1686" y="6"/>
                  <a:pt x="1687" y="15"/>
                </a:cubicBezTo>
                <a:close/>
                <a:moveTo>
                  <a:pt x="1932" y="1706"/>
                </a:moveTo>
                <a:cubicBezTo>
                  <a:pt x="1932" y="1806"/>
                  <a:pt x="1932" y="1806"/>
                  <a:pt x="1932" y="1806"/>
                </a:cubicBezTo>
                <a:cubicBezTo>
                  <a:pt x="1932" y="1818"/>
                  <a:pt x="1923" y="1828"/>
                  <a:pt x="1910" y="1828"/>
                </a:cubicBezTo>
                <a:cubicBezTo>
                  <a:pt x="22" y="1828"/>
                  <a:pt x="22" y="1828"/>
                  <a:pt x="22" y="1828"/>
                </a:cubicBezTo>
                <a:cubicBezTo>
                  <a:pt x="9" y="1828"/>
                  <a:pt x="0" y="1818"/>
                  <a:pt x="0" y="1806"/>
                </a:cubicBezTo>
                <a:cubicBezTo>
                  <a:pt x="0" y="1706"/>
                  <a:pt x="0" y="1706"/>
                  <a:pt x="0" y="1706"/>
                </a:cubicBezTo>
                <a:cubicBezTo>
                  <a:pt x="0" y="1694"/>
                  <a:pt x="9" y="1684"/>
                  <a:pt x="22" y="1684"/>
                </a:cubicBezTo>
                <a:cubicBezTo>
                  <a:pt x="98" y="1684"/>
                  <a:pt x="98" y="1684"/>
                  <a:pt x="98" y="1684"/>
                </a:cubicBezTo>
                <a:cubicBezTo>
                  <a:pt x="98" y="1647"/>
                  <a:pt x="98" y="1647"/>
                  <a:pt x="98" y="1647"/>
                </a:cubicBezTo>
                <a:cubicBezTo>
                  <a:pt x="98" y="1635"/>
                  <a:pt x="108" y="1625"/>
                  <a:pt x="120" y="1625"/>
                </a:cubicBezTo>
                <a:cubicBezTo>
                  <a:pt x="1812" y="1625"/>
                  <a:pt x="1812" y="1625"/>
                  <a:pt x="1812" y="1625"/>
                </a:cubicBezTo>
                <a:cubicBezTo>
                  <a:pt x="1824" y="1625"/>
                  <a:pt x="1834" y="1635"/>
                  <a:pt x="1834" y="1647"/>
                </a:cubicBezTo>
                <a:cubicBezTo>
                  <a:pt x="1834" y="1684"/>
                  <a:pt x="1834" y="1684"/>
                  <a:pt x="1834" y="1684"/>
                </a:cubicBezTo>
                <a:cubicBezTo>
                  <a:pt x="1910" y="1684"/>
                  <a:pt x="1910" y="1684"/>
                  <a:pt x="1910" y="1684"/>
                </a:cubicBezTo>
                <a:cubicBezTo>
                  <a:pt x="1923" y="1684"/>
                  <a:pt x="1932" y="1694"/>
                  <a:pt x="1932" y="1706"/>
                </a:cubicBezTo>
                <a:close/>
                <a:moveTo>
                  <a:pt x="1812" y="670"/>
                </a:moveTo>
                <a:cubicBezTo>
                  <a:pt x="1812" y="658"/>
                  <a:pt x="1802" y="648"/>
                  <a:pt x="1790" y="648"/>
                </a:cubicBezTo>
                <a:cubicBezTo>
                  <a:pt x="1286" y="648"/>
                  <a:pt x="1286" y="648"/>
                  <a:pt x="1286" y="648"/>
                </a:cubicBezTo>
                <a:cubicBezTo>
                  <a:pt x="713" y="459"/>
                  <a:pt x="713" y="459"/>
                  <a:pt x="713" y="459"/>
                </a:cubicBezTo>
                <a:cubicBezTo>
                  <a:pt x="706" y="457"/>
                  <a:pt x="699" y="458"/>
                  <a:pt x="693" y="462"/>
                </a:cubicBezTo>
                <a:cubicBezTo>
                  <a:pt x="687" y="466"/>
                  <a:pt x="684" y="473"/>
                  <a:pt x="684" y="480"/>
                </a:cubicBezTo>
                <a:cubicBezTo>
                  <a:pt x="684" y="638"/>
                  <a:pt x="684" y="638"/>
                  <a:pt x="684" y="638"/>
                </a:cubicBezTo>
                <a:cubicBezTo>
                  <a:pt x="147" y="459"/>
                  <a:pt x="147" y="459"/>
                  <a:pt x="147" y="459"/>
                </a:cubicBezTo>
                <a:cubicBezTo>
                  <a:pt x="140" y="457"/>
                  <a:pt x="133" y="458"/>
                  <a:pt x="127" y="462"/>
                </a:cubicBezTo>
                <a:cubicBezTo>
                  <a:pt x="121" y="466"/>
                  <a:pt x="118" y="473"/>
                  <a:pt x="118" y="480"/>
                </a:cubicBezTo>
                <a:cubicBezTo>
                  <a:pt x="118" y="1581"/>
                  <a:pt x="118" y="1581"/>
                  <a:pt x="118" y="1581"/>
                </a:cubicBezTo>
                <a:cubicBezTo>
                  <a:pt x="162" y="1581"/>
                  <a:pt x="162" y="1581"/>
                  <a:pt x="162" y="1581"/>
                </a:cubicBezTo>
                <a:cubicBezTo>
                  <a:pt x="162" y="510"/>
                  <a:pt x="162" y="510"/>
                  <a:pt x="162" y="510"/>
                </a:cubicBezTo>
                <a:cubicBezTo>
                  <a:pt x="699" y="689"/>
                  <a:pt x="699" y="689"/>
                  <a:pt x="699" y="689"/>
                </a:cubicBezTo>
                <a:cubicBezTo>
                  <a:pt x="706" y="691"/>
                  <a:pt x="713" y="690"/>
                  <a:pt x="719" y="686"/>
                </a:cubicBezTo>
                <a:cubicBezTo>
                  <a:pt x="725" y="682"/>
                  <a:pt x="728" y="675"/>
                  <a:pt x="728" y="668"/>
                </a:cubicBezTo>
                <a:cubicBezTo>
                  <a:pt x="728" y="510"/>
                  <a:pt x="728" y="510"/>
                  <a:pt x="728" y="510"/>
                </a:cubicBezTo>
                <a:cubicBezTo>
                  <a:pt x="1275" y="691"/>
                  <a:pt x="1275" y="691"/>
                  <a:pt x="1275" y="691"/>
                </a:cubicBezTo>
                <a:cubicBezTo>
                  <a:pt x="1277" y="692"/>
                  <a:pt x="1280" y="692"/>
                  <a:pt x="1282" y="692"/>
                </a:cubicBezTo>
                <a:cubicBezTo>
                  <a:pt x="1768" y="692"/>
                  <a:pt x="1768" y="692"/>
                  <a:pt x="1768" y="692"/>
                </a:cubicBezTo>
                <a:cubicBezTo>
                  <a:pt x="1768" y="1581"/>
                  <a:pt x="1768" y="1581"/>
                  <a:pt x="1768" y="1581"/>
                </a:cubicBezTo>
                <a:cubicBezTo>
                  <a:pt x="1812" y="1581"/>
                  <a:pt x="1812" y="1581"/>
                  <a:pt x="1812" y="1581"/>
                </a:cubicBezTo>
                <a:lnTo>
                  <a:pt x="1812" y="670"/>
                </a:lnTo>
                <a:close/>
              </a:path>
            </a:pathLst>
          </a:custGeom>
          <a:solidFill>
            <a:srgbClr val="58595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grpSp>
        <p:nvGrpSpPr>
          <p:cNvPr id="103" name="Group 102"/>
          <p:cNvGrpSpPr/>
          <p:nvPr/>
        </p:nvGrpSpPr>
        <p:grpSpPr>
          <a:xfrm>
            <a:off x="8204044" y="4122965"/>
            <a:ext cx="974274" cy="974274"/>
            <a:chOff x="2667000" y="0"/>
            <a:chExt cx="6858000" cy="6858000"/>
          </a:xfrm>
        </p:grpSpPr>
        <p:sp>
          <p:nvSpPr>
            <p:cNvPr id="108" name="AutoShape 97"/>
            <p:cNvSpPr>
              <a:spLocks noChangeAspect="1" noChangeArrowheads="1" noTextEdit="1"/>
            </p:cNvSpPr>
            <p:nvPr/>
          </p:nvSpPr>
          <p:spPr bwMode="auto">
            <a:xfrm>
              <a:off x="2667000" y="0"/>
              <a:ext cx="6858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686F6F"/>
                </a:solidFill>
              </a:endParaRPr>
            </a:p>
          </p:txBody>
        </p:sp>
        <p:grpSp>
          <p:nvGrpSpPr>
            <p:cNvPr id="113" name="Group 112"/>
            <p:cNvGrpSpPr/>
            <p:nvPr/>
          </p:nvGrpSpPr>
          <p:grpSpPr>
            <a:xfrm>
              <a:off x="3530600" y="1146175"/>
              <a:ext cx="5130800" cy="4565650"/>
              <a:chOff x="3530600" y="1146175"/>
              <a:chExt cx="5130800" cy="4565650"/>
            </a:xfrm>
          </p:grpSpPr>
          <p:sp>
            <p:nvSpPr>
              <p:cNvPr id="114" name="Freeform 113"/>
              <p:cNvSpPr>
                <a:spLocks/>
              </p:cNvSpPr>
              <p:nvPr/>
            </p:nvSpPr>
            <p:spPr bwMode="auto">
              <a:xfrm>
                <a:off x="3530600" y="1146175"/>
                <a:ext cx="5130800" cy="4565650"/>
              </a:xfrm>
              <a:custGeom>
                <a:avLst/>
                <a:gdLst>
                  <a:gd name="connsiteX0" fmla="*/ 2630488 w 5130800"/>
                  <a:gd name="connsiteY0" fmla="*/ 2919413 h 4565650"/>
                  <a:gd name="connsiteX1" fmla="*/ 2630488 w 5130800"/>
                  <a:gd name="connsiteY1" fmla="*/ 4425951 h 4565650"/>
                  <a:gd name="connsiteX2" fmla="*/ 3735388 w 5130800"/>
                  <a:gd name="connsiteY2" fmla="*/ 4425951 h 4565650"/>
                  <a:gd name="connsiteX3" fmla="*/ 3735388 w 5130800"/>
                  <a:gd name="connsiteY3" fmla="*/ 2919413 h 4565650"/>
                  <a:gd name="connsiteX4" fmla="*/ 1395413 w 5130800"/>
                  <a:gd name="connsiteY4" fmla="*/ 2919413 h 4565650"/>
                  <a:gd name="connsiteX5" fmla="*/ 1395413 w 5130800"/>
                  <a:gd name="connsiteY5" fmla="*/ 4425951 h 4565650"/>
                  <a:gd name="connsiteX6" fmla="*/ 2500313 w 5130800"/>
                  <a:gd name="connsiteY6" fmla="*/ 4425951 h 4565650"/>
                  <a:gd name="connsiteX7" fmla="*/ 2500313 w 5130800"/>
                  <a:gd name="connsiteY7" fmla="*/ 2919413 h 4565650"/>
                  <a:gd name="connsiteX8" fmla="*/ 1262063 w 5130800"/>
                  <a:gd name="connsiteY8" fmla="*/ 2568575 h 4565650"/>
                  <a:gd name="connsiteX9" fmla="*/ 1262063 w 5130800"/>
                  <a:gd name="connsiteY9" fmla="*/ 2789238 h 4565650"/>
                  <a:gd name="connsiteX10" fmla="*/ 3868738 w 5130800"/>
                  <a:gd name="connsiteY10" fmla="*/ 2789238 h 4565650"/>
                  <a:gd name="connsiteX11" fmla="*/ 3868738 w 5130800"/>
                  <a:gd name="connsiteY11" fmla="*/ 2568575 h 4565650"/>
                  <a:gd name="connsiteX12" fmla="*/ 2109788 w 5130800"/>
                  <a:gd name="connsiteY12" fmla="*/ 1152525 h 4565650"/>
                  <a:gd name="connsiteX13" fmla="*/ 2109788 w 5130800"/>
                  <a:gd name="connsiteY13" fmla="*/ 2071688 h 4565650"/>
                  <a:gd name="connsiteX14" fmla="*/ 3021013 w 5130800"/>
                  <a:gd name="connsiteY14" fmla="*/ 2071688 h 4565650"/>
                  <a:gd name="connsiteX15" fmla="*/ 3021013 w 5130800"/>
                  <a:gd name="connsiteY15" fmla="*/ 1152525 h 4565650"/>
                  <a:gd name="connsiteX16" fmla="*/ 2109788 w 5130800"/>
                  <a:gd name="connsiteY16" fmla="*/ 1020763 h 4565650"/>
                  <a:gd name="connsiteX17" fmla="*/ 3021013 w 5130800"/>
                  <a:gd name="connsiteY17" fmla="*/ 1020763 h 4565650"/>
                  <a:gd name="connsiteX18" fmla="*/ 3059113 w 5130800"/>
                  <a:gd name="connsiteY18" fmla="*/ 1027113 h 4565650"/>
                  <a:gd name="connsiteX19" fmla="*/ 3086101 w 5130800"/>
                  <a:gd name="connsiteY19" fmla="*/ 1038226 h 4565650"/>
                  <a:gd name="connsiteX20" fmla="*/ 3116263 w 5130800"/>
                  <a:gd name="connsiteY20" fmla="*/ 1058863 h 4565650"/>
                  <a:gd name="connsiteX21" fmla="*/ 3133726 w 5130800"/>
                  <a:gd name="connsiteY21" fmla="*/ 1082676 h 4565650"/>
                  <a:gd name="connsiteX22" fmla="*/ 3149601 w 5130800"/>
                  <a:gd name="connsiteY22" fmla="*/ 1116013 h 4565650"/>
                  <a:gd name="connsiteX23" fmla="*/ 3151188 w 5130800"/>
                  <a:gd name="connsiteY23" fmla="*/ 1152526 h 4565650"/>
                  <a:gd name="connsiteX24" fmla="*/ 3151188 w 5130800"/>
                  <a:gd name="connsiteY24" fmla="*/ 2071689 h 4565650"/>
                  <a:gd name="connsiteX25" fmla="*/ 3149601 w 5130800"/>
                  <a:gd name="connsiteY25" fmla="*/ 2105026 h 4565650"/>
                  <a:gd name="connsiteX26" fmla="*/ 3133726 w 5130800"/>
                  <a:gd name="connsiteY26" fmla="*/ 2136776 h 4565650"/>
                  <a:gd name="connsiteX27" fmla="*/ 3116263 w 5130800"/>
                  <a:gd name="connsiteY27" fmla="*/ 2160589 h 4565650"/>
                  <a:gd name="connsiteX28" fmla="*/ 3086101 w 5130800"/>
                  <a:gd name="connsiteY28" fmla="*/ 2181226 h 4565650"/>
                  <a:gd name="connsiteX29" fmla="*/ 3059113 w 5130800"/>
                  <a:gd name="connsiteY29" fmla="*/ 2197101 h 4565650"/>
                  <a:gd name="connsiteX30" fmla="*/ 3021013 w 5130800"/>
                  <a:gd name="connsiteY30" fmla="*/ 2200276 h 4565650"/>
                  <a:gd name="connsiteX31" fmla="*/ 2109788 w 5130800"/>
                  <a:gd name="connsiteY31" fmla="*/ 2200276 h 4565650"/>
                  <a:gd name="connsiteX32" fmla="*/ 2071688 w 5130800"/>
                  <a:gd name="connsiteY32" fmla="*/ 2197101 h 4565650"/>
                  <a:gd name="connsiteX33" fmla="*/ 2044701 w 5130800"/>
                  <a:gd name="connsiteY33" fmla="*/ 2181226 h 4565650"/>
                  <a:gd name="connsiteX34" fmla="*/ 2014538 w 5130800"/>
                  <a:gd name="connsiteY34" fmla="*/ 2160589 h 4565650"/>
                  <a:gd name="connsiteX35" fmla="*/ 1997076 w 5130800"/>
                  <a:gd name="connsiteY35" fmla="*/ 2136776 h 4565650"/>
                  <a:gd name="connsiteX36" fmla="*/ 1982788 w 5130800"/>
                  <a:gd name="connsiteY36" fmla="*/ 2105026 h 4565650"/>
                  <a:gd name="connsiteX37" fmla="*/ 1979613 w 5130800"/>
                  <a:gd name="connsiteY37" fmla="*/ 2071689 h 4565650"/>
                  <a:gd name="connsiteX38" fmla="*/ 1979613 w 5130800"/>
                  <a:gd name="connsiteY38" fmla="*/ 1152526 h 4565650"/>
                  <a:gd name="connsiteX39" fmla="*/ 1982788 w 5130800"/>
                  <a:gd name="connsiteY39" fmla="*/ 1116013 h 4565650"/>
                  <a:gd name="connsiteX40" fmla="*/ 1997076 w 5130800"/>
                  <a:gd name="connsiteY40" fmla="*/ 1082676 h 4565650"/>
                  <a:gd name="connsiteX41" fmla="*/ 2014538 w 5130800"/>
                  <a:gd name="connsiteY41" fmla="*/ 1058863 h 4565650"/>
                  <a:gd name="connsiteX42" fmla="*/ 2044701 w 5130800"/>
                  <a:gd name="connsiteY42" fmla="*/ 1038226 h 4565650"/>
                  <a:gd name="connsiteX43" fmla="*/ 2071688 w 5130800"/>
                  <a:gd name="connsiteY43" fmla="*/ 1027113 h 4565650"/>
                  <a:gd name="connsiteX44" fmla="*/ 2565401 w 5130800"/>
                  <a:gd name="connsiteY44" fmla="*/ 511175 h 4565650"/>
                  <a:gd name="connsiteX45" fmla="*/ 1273176 w 5130800"/>
                  <a:gd name="connsiteY45" fmla="*/ 931863 h 4565650"/>
                  <a:gd name="connsiteX46" fmla="*/ 898526 w 5130800"/>
                  <a:gd name="connsiteY46" fmla="*/ 1535113 h 4565650"/>
                  <a:gd name="connsiteX47" fmla="*/ 642938 w 5130800"/>
                  <a:gd name="connsiteY47" fmla="*/ 1949450 h 4565650"/>
                  <a:gd name="connsiteX48" fmla="*/ 642938 w 5130800"/>
                  <a:gd name="connsiteY48" fmla="*/ 4435475 h 4565650"/>
                  <a:gd name="connsiteX49" fmla="*/ 1268413 w 5130800"/>
                  <a:gd name="connsiteY49" fmla="*/ 4435475 h 4565650"/>
                  <a:gd name="connsiteX50" fmla="*/ 1265238 w 5130800"/>
                  <a:gd name="connsiteY50" fmla="*/ 4425950 h 4565650"/>
                  <a:gd name="connsiteX51" fmla="*/ 1265238 w 5130800"/>
                  <a:gd name="connsiteY51" fmla="*/ 2919413 h 4565650"/>
                  <a:gd name="connsiteX52" fmla="*/ 1196976 w 5130800"/>
                  <a:gd name="connsiteY52" fmla="*/ 2919413 h 4565650"/>
                  <a:gd name="connsiteX53" fmla="*/ 1169988 w 5130800"/>
                  <a:gd name="connsiteY53" fmla="*/ 2914650 h 4565650"/>
                  <a:gd name="connsiteX54" fmla="*/ 1149351 w 5130800"/>
                  <a:gd name="connsiteY54" fmla="*/ 2901950 h 4565650"/>
                  <a:gd name="connsiteX55" fmla="*/ 1133476 w 5130800"/>
                  <a:gd name="connsiteY55" fmla="*/ 2881313 h 4565650"/>
                  <a:gd name="connsiteX56" fmla="*/ 1130301 w 5130800"/>
                  <a:gd name="connsiteY56" fmla="*/ 2854325 h 4565650"/>
                  <a:gd name="connsiteX57" fmla="*/ 1130301 w 5130800"/>
                  <a:gd name="connsiteY57" fmla="*/ 2503488 h 4565650"/>
                  <a:gd name="connsiteX58" fmla="*/ 1133476 w 5130800"/>
                  <a:gd name="connsiteY58" fmla="*/ 2479675 h 4565650"/>
                  <a:gd name="connsiteX59" fmla="*/ 1149351 w 5130800"/>
                  <a:gd name="connsiteY59" fmla="*/ 2459038 h 4565650"/>
                  <a:gd name="connsiteX60" fmla="*/ 1169988 w 5130800"/>
                  <a:gd name="connsiteY60" fmla="*/ 2443163 h 4565650"/>
                  <a:gd name="connsiteX61" fmla="*/ 1196976 w 5130800"/>
                  <a:gd name="connsiteY61" fmla="*/ 2438400 h 4565650"/>
                  <a:gd name="connsiteX62" fmla="*/ 3935413 w 5130800"/>
                  <a:gd name="connsiteY62" fmla="*/ 2438400 h 4565650"/>
                  <a:gd name="connsiteX63" fmla="*/ 3960813 w 5130800"/>
                  <a:gd name="connsiteY63" fmla="*/ 2443163 h 4565650"/>
                  <a:gd name="connsiteX64" fmla="*/ 3983038 w 5130800"/>
                  <a:gd name="connsiteY64" fmla="*/ 2459038 h 4565650"/>
                  <a:gd name="connsiteX65" fmla="*/ 3997326 w 5130800"/>
                  <a:gd name="connsiteY65" fmla="*/ 2479675 h 4565650"/>
                  <a:gd name="connsiteX66" fmla="*/ 4000501 w 5130800"/>
                  <a:gd name="connsiteY66" fmla="*/ 2503488 h 4565650"/>
                  <a:gd name="connsiteX67" fmla="*/ 4000501 w 5130800"/>
                  <a:gd name="connsiteY67" fmla="*/ 2854325 h 4565650"/>
                  <a:gd name="connsiteX68" fmla="*/ 3997326 w 5130800"/>
                  <a:gd name="connsiteY68" fmla="*/ 2881313 h 4565650"/>
                  <a:gd name="connsiteX69" fmla="*/ 3983038 w 5130800"/>
                  <a:gd name="connsiteY69" fmla="*/ 2901950 h 4565650"/>
                  <a:gd name="connsiteX70" fmla="*/ 3960813 w 5130800"/>
                  <a:gd name="connsiteY70" fmla="*/ 2914650 h 4565650"/>
                  <a:gd name="connsiteX71" fmla="*/ 3935413 w 5130800"/>
                  <a:gd name="connsiteY71" fmla="*/ 2919413 h 4565650"/>
                  <a:gd name="connsiteX72" fmla="*/ 3865563 w 5130800"/>
                  <a:gd name="connsiteY72" fmla="*/ 2919413 h 4565650"/>
                  <a:gd name="connsiteX73" fmla="*/ 3865563 w 5130800"/>
                  <a:gd name="connsiteY73" fmla="*/ 4425950 h 4565650"/>
                  <a:gd name="connsiteX74" fmla="*/ 3863976 w 5130800"/>
                  <a:gd name="connsiteY74" fmla="*/ 4435475 h 4565650"/>
                  <a:gd name="connsiteX75" fmla="*/ 4487863 w 5130800"/>
                  <a:gd name="connsiteY75" fmla="*/ 4435475 h 4565650"/>
                  <a:gd name="connsiteX76" fmla="*/ 4487863 w 5130800"/>
                  <a:gd name="connsiteY76" fmla="*/ 1949450 h 4565650"/>
                  <a:gd name="connsiteX77" fmla="*/ 4232276 w 5130800"/>
                  <a:gd name="connsiteY77" fmla="*/ 1535113 h 4565650"/>
                  <a:gd name="connsiteX78" fmla="*/ 3857626 w 5130800"/>
                  <a:gd name="connsiteY78" fmla="*/ 931863 h 4565650"/>
                  <a:gd name="connsiteX79" fmla="*/ 2565401 w 5130800"/>
                  <a:gd name="connsiteY79" fmla="*/ 133350 h 4565650"/>
                  <a:gd name="connsiteX80" fmla="*/ 1038226 w 5130800"/>
                  <a:gd name="connsiteY80" fmla="*/ 633413 h 4565650"/>
                  <a:gd name="connsiteX81" fmla="*/ 150813 w 5130800"/>
                  <a:gd name="connsiteY81" fmla="*/ 2058988 h 4565650"/>
                  <a:gd name="connsiteX82" fmla="*/ 347663 w 5130800"/>
                  <a:gd name="connsiteY82" fmla="*/ 2178050 h 4565650"/>
                  <a:gd name="connsiteX83" fmla="*/ 1177926 w 5130800"/>
                  <a:gd name="connsiteY83" fmla="*/ 844550 h 4565650"/>
                  <a:gd name="connsiteX84" fmla="*/ 1193801 w 5130800"/>
                  <a:gd name="connsiteY84" fmla="*/ 827088 h 4565650"/>
                  <a:gd name="connsiteX85" fmla="*/ 1211263 w 5130800"/>
                  <a:gd name="connsiteY85" fmla="*/ 815975 h 4565650"/>
                  <a:gd name="connsiteX86" fmla="*/ 2544763 w 5130800"/>
                  <a:gd name="connsiteY86" fmla="*/ 381000 h 4565650"/>
                  <a:gd name="connsiteX87" fmla="*/ 2554288 w 5130800"/>
                  <a:gd name="connsiteY87" fmla="*/ 377825 h 4565650"/>
                  <a:gd name="connsiteX88" fmla="*/ 2565401 w 5130800"/>
                  <a:gd name="connsiteY88" fmla="*/ 377825 h 4565650"/>
                  <a:gd name="connsiteX89" fmla="*/ 2578101 w 5130800"/>
                  <a:gd name="connsiteY89" fmla="*/ 377825 h 4565650"/>
                  <a:gd name="connsiteX90" fmla="*/ 2586038 w 5130800"/>
                  <a:gd name="connsiteY90" fmla="*/ 381000 h 4565650"/>
                  <a:gd name="connsiteX91" fmla="*/ 3919538 w 5130800"/>
                  <a:gd name="connsiteY91" fmla="*/ 815975 h 4565650"/>
                  <a:gd name="connsiteX92" fmla="*/ 3937001 w 5130800"/>
                  <a:gd name="connsiteY92" fmla="*/ 827088 h 4565650"/>
                  <a:gd name="connsiteX93" fmla="*/ 3952876 w 5130800"/>
                  <a:gd name="connsiteY93" fmla="*/ 844550 h 4565650"/>
                  <a:gd name="connsiteX94" fmla="*/ 4783138 w 5130800"/>
                  <a:gd name="connsiteY94" fmla="*/ 2178050 h 4565650"/>
                  <a:gd name="connsiteX95" fmla="*/ 4979988 w 5130800"/>
                  <a:gd name="connsiteY95" fmla="*/ 2058988 h 4565650"/>
                  <a:gd name="connsiteX96" fmla="*/ 4497388 w 5130800"/>
                  <a:gd name="connsiteY96" fmla="*/ 1285875 h 4565650"/>
                  <a:gd name="connsiteX97" fmla="*/ 4092576 w 5130800"/>
                  <a:gd name="connsiteY97" fmla="*/ 633413 h 4565650"/>
                  <a:gd name="connsiteX98" fmla="*/ 2565400 w 5130800"/>
                  <a:gd name="connsiteY98" fmla="*/ 0 h 4565650"/>
                  <a:gd name="connsiteX99" fmla="*/ 2586038 w 5130800"/>
                  <a:gd name="connsiteY99" fmla="*/ 6350 h 4565650"/>
                  <a:gd name="connsiteX100" fmla="*/ 4154488 w 5130800"/>
                  <a:gd name="connsiteY100" fmla="*/ 514350 h 4565650"/>
                  <a:gd name="connsiteX101" fmla="*/ 4175125 w 5130800"/>
                  <a:gd name="connsiteY101" fmla="*/ 527050 h 4565650"/>
                  <a:gd name="connsiteX102" fmla="*/ 4187825 w 5130800"/>
                  <a:gd name="connsiteY102" fmla="*/ 541338 h 4565650"/>
                  <a:gd name="connsiteX103" fmla="*/ 5122862 w 5130800"/>
                  <a:gd name="connsiteY103" fmla="*/ 2044700 h 4565650"/>
                  <a:gd name="connsiteX104" fmla="*/ 5130800 w 5130800"/>
                  <a:gd name="connsiteY104" fmla="*/ 2068513 h 4565650"/>
                  <a:gd name="connsiteX105" fmla="*/ 5130800 w 5130800"/>
                  <a:gd name="connsiteY105" fmla="*/ 2092325 h 4565650"/>
                  <a:gd name="connsiteX106" fmla="*/ 5119688 w 5130800"/>
                  <a:gd name="connsiteY106" fmla="*/ 2116138 h 4565650"/>
                  <a:gd name="connsiteX107" fmla="*/ 5102225 w 5130800"/>
                  <a:gd name="connsiteY107" fmla="*/ 2133600 h 4565650"/>
                  <a:gd name="connsiteX108" fmla="*/ 4797425 w 5130800"/>
                  <a:gd name="connsiteY108" fmla="*/ 2320925 h 4565650"/>
                  <a:gd name="connsiteX109" fmla="*/ 4779963 w 5130800"/>
                  <a:gd name="connsiteY109" fmla="*/ 2330450 h 4565650"/>
                  <a:gd name="connsiteX110" fmla="*/ 4762500 w 5130800"/>
                  <a:gd name="connsiteY110" fmla="*/ 2333625 h 4565650"/>
                  <a:gd name="connsiteX111" fmla="*/ 4741863 w 5130800"/>
                  <a:gd name="connsiteY111" fmla="*/ 2330450 h 4565650"/>
                  <a:gd name="connsiteX112" fmla="*/ 4722813 w 5130800"/>
                  <a:gd name="connsiteY112" fmla="*/ 2319338 h 4565650"/>
                  <a:gd name="connsiteX113" fmla="*/ 4708525 w 5130800"/>
                  <a:gd name="connsiteY113" fmla="*/ 2300288 h 4565650"/>
                  <a:gd name="connsiteX114" fmla="*/ 4616450 w 5130800"/>
                  <a:gd name="connsiteY114" fmla="*/ 2154238 h 4565650"/>
                  <a:gd name="connsiteX115" fmla="*/ 4616450 w 5130800"/>
                  <a:gd name="connsiteY115" fmla="*/ 4435475 h 4565650"/>
                  <a:gd name="connsiteX116" fmla="*/ 4837113 w 5130800"/>
                  <a:gd name="connsiteY116" fmla="*/ 4435475 h 4565650"/>
                  <a:gd name="connsiteX117" fmla="*/ 4860925 w 5130800"/>
                  <a:gd name="connsiteY117" fmla="*/ 4440238 h 4565650"/>
                  <a:gd name="connsiteX118" fmla="*/ 4881562 w 5130800"/>
                  <a:gd name="connsiteY118" fmla="*/ 4452938 h 4565650"/>
                  <a:gd name="connsiteX119" fmla="*/ 4895850 w 5130800"/>
                  <a:gd name="connsiteY119" fmla="*/ 4473575 h 4565650"/>
                  <a:gd name="connsiteX120" fmla="*/ 4899025 w 5130800"/>
                  <a:gd name="connsiteY120" fmla="*/ 4500563 h 4565650"/>
                  <a:gd name="connsiteX121" fmla="*/ 4895850 w 5130800"/>
                  <a:gd name="connsiteY121" fmla="*/ 4524375 h 4565650"/>
                  <a:gd name="connsiteX122" fmla="*/ 4881562 w 5130800"/>
                  <a:gd name="connsiteY122" fmla="*/ 4545013 h 4565650"/>
                  <a:gd name="connsiteX123" fmla="*/ 4860925 w 5130800"/>
                  <a:gd name="connsiteY123" fmla="*/ 4559300 h 4565650"/>
                  <a:gd name="connsiteX124" fmla="*/ 4837113 w 5130800"/>
                  <a:gd name="connsiteY124" fmla="*/ 4565650 h 4565650"/>
                  <a:gd name="connsiteX125" fmla="*/ 293688 w 5130800"/>
                  <a:gd name="connsiteY125" fmla="*/ 4565650 h 4565650"/>
                  <a:gd name="connsiteX126" fmla="*/ 269875 w 5130800"/>
                  <a:gd name="connsiteY126" fmla="*/ 4559300 h 4565650"/>
                  <a:gd name="connsiteX127" fmla="*/ 249238 w 5130800"/>
                  <a:gd name="connsiteY127" fmla="*/ 4545013 h 4565650"/>
                  <a:gd name="connsiteX128" fmla="*/ 234950 w 5130800"/>
                  <a:gd name="connsiteY128" fmla="*/ 4524375 h 4565650"/>
                  <a:gd name="connsiteX129" fmla="*/ 231775 w 5130800"/>
                  <a:gd name="connsiteY129" fmla="*/ 4500563 h 4565650"/>
                  <a:gd name="connsiteX130" fmla="*/ 234950 w 5130800"/>
                  <a:gd name="connsiteY130" fmla="*/ 4473575 h 4565650"/>
                  <a:gd name="connsiteX131" fmla="*/ 249238 w 5130800"/>
                  <a:gd name="connsiteY131" fmla="*/ 4452938 h 4565650"/>
                  <a:gd name="connsiteX132" fmla="*/ 269875 w 5130800"/>
                  <a:gd name="connsiteY132" fmla="*/ 4440238 h 4565650"/>
                  <a:gd name="connsiteX133" fmla="*/ 293688 w 5130800"/>
                  <a:gd name="connsiteY133" fmla="*/ 4435475 h 4565650"/>
                  <a:gd name="connsiteX134" fmla="*/ 514350 w 5130800"/>
                  <a:gd name="connsiteY134" fmla="*/ 4435475 h 4565650"/>
                  <a:gd name="connsiteX135" fmla="*/ 514350 w 5130800"/>
                  <a:gd name="connsiteY135" fmla="*/ 2154238 h 4565650"/>
                  <a:gd name="connsiteX136" fmla="*/ 422275 w 5130800"/>
                  <a:gd name="connsiteY136" fmla="*/ 2300288 h 4565650"/>
                  <a:gd name="connsiteX137" fmla="*/ 404813 w 5130800"/>
                  <a:gd name="connsiteY137" fmla="*/ 2320925 h 4565650"/>
                  <a:gd name="connsiteX138" fmla="*/ 384175 w 5130800"/>
                  <a:gd name="connsiteY138" fmla="*/ 2330450 h 4565650"/>
                  <a:gd name="connsiteX139" fmla="*/ 360363 w 5130800"/>
                  <a:gd name="connsiteY139" fmla="*/ 2333625 h 4565650"/>
                  <a:gd name="connsiteX140" fmla="*/ 333375 w 5130800"/>
                  <a:gd name="connsiteY140" fmla="*/ 2320925 h 4565650"/>
                  <a:gd name="connsiteX141" fmla="*/ 30163 w 5130800"/>
                  <a:gd name="connsiteY141" fmla="*/ 2133600 h 4565650"/>
                  <a:gd name="connsiteX142" fmla="*/ 11113 w 5130800"/>
                  <a:gd name="connsiteY142" fmla="*/ 2116138 h 4565650"/>
                  <a:gd name="connsiteX143" fmla="*/ 0 w 5130800"/>
                  <a:gd name="connsiteY143" fmla="*/ 2092325 h 4565650"/>
                  <a:gd name="connsiteX144" fmla="*/ 0 w 5130800"/>
                  <a:gd name="connsiteY144" fmla="*/ 2068513 h 4565650"/>
                  <a:gd name="connsiteX145" fmla="*/ 7938 w 5130800"/>
                  <a:gd name="connsiteY145" fmla="*/ 2044700 h 4565650"/>
                  <a:gd name="connsiteX146" fmla="*/ 942975 w 5130800"/>
                  <a:gd name="connsiteY146" fmla="*/ 541338 h 4565650"/>
                  <a:gd name="connsiteX147" fmla="*/ 955675 w 5130800"/>
                  <a:gd name="connsiteY147" fmla="*/ 527050 h 4565650"/>
                  <a:gd name="connsiteX148" fmla="*/ 976313 w 5130800"/>
                  <a:gd name="connsiteY148" fmla="*/ 514350 h 4565650"/>
                  <a:gd name="connsiteX149" fmla="*/ 2544763 w 5130800"/>
                  <a:gd name="connsiteY149" fmla="*/ 6350 h 456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5130800" h="4565650">
                    <a:moveTo>
                      <a:pt x="2630488" y="2919413"/>
                    </a:moveTo>
                    <a:lnTo>
                      <a:pt x="2630488" y="4425951"/>
                    </a:lnTo>
                    <a:lnTo>
                      <a:pt x="3735388" y="4425951"/>
                    </a:lnTo>
                    <a:lnTo>
                      <a:pt x="3735388" y="2919413"/>
                    </a:lnTo>
                    <a:close/>
                    <a:moveTo>
                      <a:pt x="1395413" y="2919413"/>
                    </a:moveTo>
                    <a:lnTo>
                      <a:pt x="1395413" y="4425951"/>
                    </a:lnTo>
                    <a:lnTo>
                      <a:pt x="2500313" y="4425951"/>
                    </a:lnTo>
                    <a:lnTo>
                      <a:pt x="2500313" y="2919413"/>
                    </a:lnTo>
                    <a:close/>
                    <a:moveTo>
                      <a:pt x="1262063" y="2568575"/>
                    </a:moveTo>
                    <a:lnTo>
                      <a:pt x="1262063" y="2789238"/>
                    </a:lnTo>
                    <a:lnTo>
                      <a:pt x="3868738" y="2789238"/>
                    </a:lnTo>
                    <a:lnTo>
                      <a:pt x="3868738" y="2568575"/>
                    </a:lnTo>
                    <a:close/>
                    <a:moveTo>
                      <a:pt x="2109788" y="1152525"/>
                    </a:moveTo>
                    <a:lnTo>
                      <a:pt x="2109788" y="2071688"/>
                    </a:lnTo>
                    <a:lnTo>
                      <a:pt x="3021013" y="2071688"/>
                    </a:lnTo>
                    <a:lnTo>
                      <a:pt x="3021013" y="1152525"/>
                    </a:lnTo>
                    <a:close/>
                    <a:moveTo>
                      <a:pt x="2109788" y="1020763"/>
                    </a:moveTo>
                    <a:lnTo>
                      <a:pt x="3021013" y="1020763"/>
                    </a:lnTo>
                    <a:lnTo>
                      <a:pt x="3059113" y="1027113"/>
                    </a:lnTo>
                    <a:lnTo>
                      <a:pt x="3086101" y="1038226"/>
                    </a:lnTo>
                    <a:lnTo>
                      <a:pt x="3116263" y="1058863"/>
                    </a:lnTo>
                    <a:lnTo>
                      <a:pt x="3133726" y="1082676"/>
                    </a:lnTo>
                    <a:lnTo>
                      <a:pt x="3149601" y="1116013"/>
                    </a:lnTo>
                    <a:lnTo>
                      <a:pt x="3151188" y="1152526"/>
                    </a:lnTo>
                    <a:lnTo>
                      <a:pt x="3151188" y="2071689"/>
                    </a:lnTo>
                    <a:lnTo>
                      <a:pt x="3149601" y="2105026"/>
                    </a:lnTo>
                    <a:lnTo>
                      <a:pt x="3133726" y="2136776"/>
                    </a:lnTo>
                    <a:lnTo>
                      <a:pt x="3116263" y="2160589"/>
                    </a:lnTo>
                    <a:lnTo>
                      <a:pt x="3086101" y="2181226"/>
                    </a:lnTo>
                    <a:lnTo>
                      <a:pt x="3059113" y="2197101"/>
                    </a:lnTo>
                    <a:lnTo>
                      <a:pt x="3021013" y="2200276"/>
                    </a:lnTo>
                    <a:lnTo>
                      <a:pt x="2109788" y="2200276"/>
                    </a:lnTo>
                    <a:lnTo>
                      <a:pt x="2071688" y="2197101"/>
                    </a:lnTo>
                    <a:lnTo>
                      <a:pt x="2044701" y="2181226"/>
                    </a:lnTo>
                    <a:lnTo>
                      <a:pt x="2014538" y="2160589"/>
                    </a:lnTo>
                    <a:lnTo>
                      <a:pt x="1997076" y="2136776"/>
                    </a:lnTo>
                    <a:lnTo>
                      <a:pt x="1982788" y="2105026"/>
                    </a:lnTo>
                    <a:lnTo>
                      <a:pt x="1979613" y="2071689"/>
                    </a:lnTo>
                    <a:lnTo>
                      <a:pt x="1979613" y="1152526"/>
                    </a:lnTo>
                    <a:lnTo>
                      <a:pt x="1982788" y="1116013"/>
                    </a:lnTo>
                    <a:lnTo>
                      <a:pt x="1997076" y="1082676"/>
                    </a:lnTo>
                    <a:lnTo>
                      <a:pt x="2014538" y="1058863"/>
                    </a:lnTo>
                    <a:lnTo>
                      <a:pt x="2044701" y="1038226"/>
                    </a:lnTo>
                    <a:lnTo>
                      <a:pt x="2071688" y="1027113"/>
                    </a:lnTo>
                    <a:close/>
                    <a:moveTo>
                      <a:pt x="2565401" y="511175"/>
                    </a:moveTo>
                    <a:lnTo>
                      <a:pt x="1273176" y="931863"/>
                    </a:lnTo>
                    <a:lnTo>
                      <a:pt x="898526" y="1535113"/>
                    </a:lnTo>
                    <a:lnTo>
                      <a:pt x="642938" y="1949450"/>
                    </a:lnTo>
                    <a:lnTo>
                      <a:pt x="642938" y="4435475"/>
                    </a:lnTo>
                    <a:lnTo>
                      <a:pt x="1268413" y="4435475"/>
                    </a:lnTo>
                    <a:lnTo>
                      <a:pt x="1265238" y="4425950"/>
                    </a:lnTo>
                    <a:lnTo>
                      <a:pt x="1265238" y="2919413"/>
                    </a:lnTo>
                    <a:lnTo>
                      <a:pt x="1196976" y="2919413"/>
                    </a:lnTo>
                    <a:lnTo>
                      <a:pt x="1169988" y="2914650"/>
                    </a:lnTo>
                    <a:lnTo>
                      <a:pt x="1149351" y="2901950"/>
                    </a:lnTo>
                    <a:lnTo>
                      <a:pt x="1133476" y="2881313"/>
                    </a:lnTo>
                    <a:lnTo>
                      <a:pt x="1130301" y="2854325"/>
                    </a:lnTo>
                    <a:lnTo>
                      <a:pt x="1130301" y="2503488"/>
                    </a:lnTo>
                    <a:lnTo>
                      <a:pt x="1133476" y="2479675"/>
                    </a:lnTo>
                    <a:lnTo>
                      <a:pt x="1149351" y="2459038"/>
                    </a:lnTo>
                    <a:lnTo>
                      <a:pt x="1169988" y="2443163"/>
                    </a:lnTo>
                    <a:lnTo>
                      <a:pt x="1196976" y="2438400"/>
                    </a:lnTo>
                    <a:lnTo>
                      <a:pt x="3935413" y="2438400"/>
                    </a:lnTo>
                    <a:lnTo>
                      <a:pt x="3960813" y="2443163"/>
                    </a:lnTo>
                    <a:lnTo>
                      <a:pt x="3983038" y="2459038"/>
                    </a:lnTo>
                    <a:lnTo>
                      <a:pt x="3997326" y="2479675"/>
                    </a:lnTo>
                    <a:lnTo>
                      <a:pt x="4000501" y="2503488"/>
                    </a:lnTo>
                    <a:lnTo>
                      <a:pt x="4000501" y="2854325"/>
                    </a:lnTo>
                    <a:lnTo>
                      <a:pt x="3997326" y="2881313"/>
                    </a:lnTo>
                    <a:lnTo>
                      <a:pt x="3983038" y="2901950"/>
                    </a:lnTo>
                    <a:lnTo>
                      <a:pt x="3960813" y="2914650"/>
                    </a:lnTo>
                    <a:lnTo>
                      <a:pt x="3935413" y="2919413"/>
                    </a:lnTo>
                    <a:lnTo>
                      <a:pt x="3865563" y="2919413"/>
                    </a:lnTo>
                    <a:lnTo>
                      <a:pt x="3865563" y="4425950"/>
                    </a:lnTo>
                    <a:lnTo>
                      <a:pt x="3863976" y="4435475"/>
                    </a:lnTo>
                    <a:lnTo>
                      <a:pt x="4487863" y="4435475"/>
                    </a:lnTo>
                    <a:lnTo>
                      <a:pt x="4487863" y="1949450"/>
                    </a:lnTo>
                    <a:lnTo>
                      <a:pt x="4232276" y="1535113"/>
                    </a:lnTo>
                    <a:lnTo>
                      <a:pt x="3857626" y="931863"/>
                    </a:lnTo>
                    <a:close/>
                    <a:moveTo>
                      <a:pt x="2565401" y="133350"/>
                    </a:moveTo>
                    <a:lnTo>
                      <a:pt x="1038226" y="633413"/>
                    </a:lnTo>
                    <a:lnTo>
                      <a:pt x="150813" y="2058988"/>
                    </a:lnTo>
                    <a:lnTo>
                      <a:pt x="347663" y="2178050"/>
                    </a:lnTo>
                    <a:lnTo>
                      <a:pt x="1177926" y="844550"/>
                    </a:lnTo>
                    <a:lnTo>
                      <a:pt x="1193801" y="827088"/>
                    </a:lnTo>
                    <a:lnTo>
                      <a:pt x="1211263" y="815975"/>
                    </a:lnTo>
                    <a:lnTo>
                      <a:pt x="2544763" y="381000"/>
                    </a:lnTo>
                    <a:lnTo>
                      <a:pt x="2554288" y="377825"/>
                    </a:lnTo>
                    <a:lnTo>
                      <a:pt x="2565401" y="377825"/>
                    </a:lnTo>
                    <a:lnTo>
                      <a:pt x="2578101" y="377825"/>
                    </a:lnTo>
                    <a:lnTo>
                      <a:pt x="2586038" y="381000"/>
                    </a:lnTo>
                    <a:lnTo>
                      <a:pt x="3919538" y="815975"/>
                    </a:lnTo>
                    <a:lnTo>
                      <a:pt x="3937001" y="827088"/>
                    </a:lnTo>
                    <a:lnTo>
                      <a:pt x="3952876" y="844550"/>
                    </a:lnTo>
                    <a:lnTo>
                      <a:pt x="4783138" y="2178050"/>
                    </a:lnTo>
                    <a:lnTo>
                      <a:pt x="4979988" y="2058988"/>
                    </a:lnTo>
                    <a:lnTo>
                      <a:pt x="4497388" y="1285875"/>
                    </a:lnTo>
                    <a:lnTo>
                      <a:pt x="4092576" y="633413"/>
                    </a:lnTo>
                    <a:close/>
                    <a:moveTo>
                      <a:pt x="2565400" y="0"/>
                    </a:moveTo>
                    <a:lnTo>
                      <a:pt x="2586038" y="6350"/>
                    </a:lnTo>
                    <a:lnTo>
                      <a:pt x="4154488" y="514350"/>
                    </a:lnTo>
                    <a:lnTo>
                      <a:pt x="4175125" y="527050"/>
                    </a:lnTo>
                    <a:lnTo>
                      <a:pt x="4187825" y="541338"/>
                    </a:lnTo>
                    <a:lnTo>
                      <a:pt x="5122862" y="2044700"/>
                    </a:lnTo>
                    <a:lnTo>
                      <a:pt x="5130800" y="2068513"/>
                    </a:lnTo>
                    <a:lnTo>
                      <a:pt x="5130800" y="2092325"/>
                    </a:lnTo>
                    <a:lnTo>
                      <a:pt x="5119688" y="2116138"/>
                    </a:lnTo>
                    <a:lnTo>
                      <a:pt x="5102225" y="2133600"/>
                    </a:lnTo>
                    <a:lnTo>
                      <a:pt x="4797425" y="2320925"/>
                    </a:lnTo>
                    <a:lnTo>
                      <a:pt x="4779963" y="2330450"/>
                    </a:lnTo>
                    <a:lnTo>
                      <a:pt x="4762500" y="2333625"/>
                    </a:lnTo>
                    <a:lnTo>
                      <a:pt x="4741863" y="2330450"/>
                    </a:lnTo>
                    <a:lnTo>
                      <a:pt x="4722813" y="2319338"/>
                    </a:lnTo>
                    <a:lnTo>
                      <a:pt x="4708525" y="2300288"/>
                    </a:lnTo>
                    <a:lnTo>
                      <a:pt x="4616450" y="2154238"/>
                    </a:lnTo>
                    <a:lnTo>
                      <a:pt x="4616450" y="4435475"/>
                    </a:lnTo>
                    <a:lnTo>
                      <a:pt x="4837113" y="4435475"/>
                    </a:lnTo>
                    <a:lnTo>
                      <a:pt x="4860925" y="4440238"/>
                    </a:lnTo>
                    <a:lnTo>
                      <a:pt x="4881562" y="4452938"/>
                    </a:lnTo>
                    <a:lnTo>
                      <a:pt x="4895850" y="4473575"/>
                    </a:lnTo>
                    <a:lnTo>
                      <a:pt x="4899025" y="4500563"/>
                    </a:lnTo>
                    <a:lnTo>
                      <a:pt x="4895850" y="4524375"/>
                    </a:lnTo>
                    <a:lnTo>
                      <a:pt x="4881562" y="4545013"/>
                    </a:lnTo>
                    <a:lnTo>
                      <a:pt x="4860925" y="4559300"/>
                    </a:lnTo>
                    <a:lnTo>
                      <a:pt x="4837113" y="4565650"/>
                    </a:lnTo>
                    <a:lnTo>
                      <a:pt x="293688" y="4565650"/>
                    </a:lnTo>
                    <a:lnTo>
                      <a:pt x="269875" y="4559300"/>
                    </a:lnTo>
                    <a:lnTo>
                      <a:pt x="249238" y="4545013"/>
                    </a:lnTo>
                    <a:lnTo>
                      <a:pt x="234950" y="4524375"/>
                    </a:lnTo>
                    <a:lnTo>
                      <a:pt x="231775" y="4500563"/>
                    </a:lnTo>
                    <a:lnTo>
                      <a:pt x="234950" y="4473575"/>
                    </a:lnTo>
                    <a:lnTo>
                      <a:pt x="249238" y="4452938"/>
                    </a:lnTo>
                    <a:lnTo>
                      <a:pt x="269875" y="4440238"/>
                    </a:lnTo>
                    <a:lnTo>
                      <a:pt x="293688" y="4435475"/>
                    </a:lnTo>
                    <a:lnTo>
                      <a:pt x="514350" y="4435475"/>
                    </a:lnTo>
                    <a:lnTo>
                      <a:pt x="514350" y="2154238"/>
                    </a:lnTo>
                    <a:lnTo>
                      <a:pt x="422275" y="2300288"/>
                    </a:lnTo>
                    <a:lnTo>
                      <a:pt x="404813" y="2320925"/>
                    </a:lnTo>
                    <a:lnTo>
                      <a:pt x="384175" y="2330450"/>
                    </a:lnTo>
                    <a:lnTo>
                      <a:pt x="360363" y="2333625"/>
                    </a:lnTo>
                    <a:lnTo>
                      <a:pt x="333375" y="2320925"/>
                    </a:lnTo>
                    <a:lnTo>
                      <a:pt x="30163" y="2133600"/>
                    </a:lnTo>
                    <a:lnTo>
                      <a:pt x="11113" y="2116138"/>
                    </a:lnTo>
                    <a:lnTo>
                      <a:pt x="0" y="2092325"/>
                    </a:lnTo>
                    <a:lnTo>
                      <a:pt x="0" y="2068513"/>
                    </a:lnTo>
                    <a:lnTo>
                      <a:pt x="7938" y="2044700"/>
                    </a:lnTo>
                    <a:lnTo>
                      <a:pt x="942975" y="541338"/>
                    </a:lnTo>
                    <a:lnTo>
                      <a:pt x="955675" y="527050"/>
                    </a:lnTo>
                    <a:lnTo>
                      <a:pt x="976313" y="514350"/>
                    </a:lnTo>
                    <a:lnTo>
                      <a:pt x="2544763" y="6350"/>
                    </a:lnTo>
                    <a:close/>
                  </a:path>
                </a:pathLst>
              </a:custGeom>
              <a:solidFill>
                <a:srgbClr val="686F6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118" name="Freeform 117"/>
              <p:cNvSpPr>
                <a:spLocks/>
              </p:cNvSpPr>
              <p:nvPr/>
            </p:nvSpPr>
            <p:spPr bwMode="auto">
              <a:xfrm>
                <a:off x="5057775" y="2428875"/>
                <a:ext cx="2076450" cy="3013075"/>
              </a:xfrm>
              <a:custGeom>
                <a:avLst/>
                <a:gdLst>
                  <a:gd name="connsiteX0" fmla="*/ 1231900 w 2076450"/>
                  <a:gd name="connsiteY0" fmla="*/ 1765300 h 3013075"/>
                  <a:gd name="connsiteX1" fmla="*/ 2076450 w 2076450"/>
                  <a:gd name="connsiteY1" fmla="*/ 1765300 h 3013075"/>
                  <a:gd name="connsiteX2" fmla="*/ 2076450 w 2076450"/>
                  <a:gd name="connsiteY2" fmla="*/ 3013075 h 3013075"/>
                  <a:gd name="connsiteX3" fmla="*/ 1231900 w 2076450"/>
                  <a:gd name="connsiteY3" fmla="*/ 3013075 h 3013075"/>
                  <a:gd name="connsiteX4" fmla="*/ 0 w 2076450"/>
                  <a:gd name="connsiteY4" fmla="*/ 1765300 h 3013075"/>
                  <a:gd name="connsiteX5" fmla="*/ 844550 w 2076450"/>
                  <a:gd name="connsiteY5" fmla="*/ 1765300 h 3013075"/>
                  <a:gd name="connsiteX6" fmla="*/ 844550 w 2076450"/>
                  <a:gd name="connsiteY6" fmla="*/ 3013075 h 3013075"/>
                  <a:gd name="connsiteX7" fmla="*/ 0 w 2076450"/>
                  <a:gd name="connsiteY7" fmla="*/ 3013075 h 3013075"/>
                  <a:gd name="connsiteX8" fmla="*/ 711200 w 2076450"/>
                  <a:gd name="connsiteY8" fmla="*/ 0 h 3013075"/>
                  <a:gd name="connsiteX9" fmla="*/ 1365250 w 2076450"/>
                  <a:gd name="connsiteY9" fmla="*/ 0 h 3013075"/>
                  <a:gd name="connsiteX10" fmla="*/ 1365250 w 2076450"/>
                  <a:gd name="connsiteY10" fmla="*/ 657225 h 3013075"/>
                  <a:gd name="connsiteX11" fmla="*/ 711200 w 2076450"/>
                  <a:gd name="connsiteY11" fmla="*/ 657225 h 3013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76450" h="3013075">
                    <a:moveTo>
                      <a:pt x="1231900" y="1765300"/>
                    </a:moveTo>
                    <a:lnTo>
                      <a:pt x="2076450" y="1765300"/>
                    </a:lnTo>
                    <a:lnTo>
                      <a:pt x="2076450" y="3013075"/>
                    </a:lnTo>
                    <a:lnTo>
                      <a:pt x="1231900" y="3013075"/>
                    </a:lnTo>
                    <a:close/>
                    <a:moveTo>
                      <a:pt x="0" y="1765300"/>
                    </a:moveTo>
                    <a:lnTo>
                      <a:pt x="844550" y="1765300"/>
                    </a:lnTo>
                    <a:lnTo>
                      <a:pt x="844550" y="3013075"/>
                    </a:lnTo>
                    <a:lnTo>
                      <a:pt x="0" y="3013075"/>
                    </a:lnTo>
                    <a:close/>
                    <a:moveTo>
                      <a:pt x="711200" y="0"/>
                    </a:moveTo>
                    <a:lnTo>
                      <a:pt x="1365250" y="0"/>
                    </a:lnTo>
                    <a:lnTo>
                      <a:pt x="1365250" y="657225"/>
                    </a:lnTo>
                    <a:lnTo>
                      <a:pt x="711200" y="657225"/>
                    </a:lnTo>
                    <a:close/>
                  </a:path>
                </a:pathLst>
              </a:custGeom>
              <a:solidFill>
                <a:srgbClr val="CCD3E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</p:grpSp>
      </p:grpSp>
      <p:grpSp>
        <p:nvGrpSpPr>
          <p:cNvPr id="135" name="Group 134"/>
          <p:cNvGrpSpPr/>
          <p:nvPr/>
        </p:nvGrpSpPr>
        <p:grpSpPr>
          <a:xfrm>
            <a:off x="8204044" y="5008336"/>
            <a:ext cx="974274" cy="974274"/>
            <a:chOff x="2667000" y="0"/>
            <a:chExt cx="6858000" cy="6858000"/>
          </a:xfrm>
        </p:grpSpPr>
        <p:sp>
          <p:nvSpPr>
            <p:cNvPr id="136" name="AutoShape 97"/>
            <p:cNvSpPr>
              <a:spLocks noChangeAspect="1" noChangeArrowheads="1" noTextEdit="1"/>
            </p:cNvSpPr>
            <p:nvPr/>
          </p:nvSpPr>
          <p:spPr bwMode="auto">
            <a:xfrm>
              <a:off x="2667000" y="0"/>
              <a:ext cx="6858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686F6F"/>
                </a:solidFill>
              </a:endParaRPr>
            </a:p>
          </p:txBody>
        </p:sp>
        <p:grpSp>
          <p:nvGrpSpPr>
            <p:cNvPr id="137" name="Group 136"/>
            <p:cNvGrpSpPr/>
            <p:nvPr/>
          </p:nvGrpSpPr>
          <p:grpSpPr>
            <a:xfrm>
              <a:off x="3530600" y="1146175"/>
              <a:ext cx="5130800" cy="4565650"/>
              <a:chOff x="3530600" y="1146175"/>
              <a:chExt cx="5130800" cy="4565650"/>
            </a:xfrm>
          </p:grpSpPr>
          <p:sp>
            <p:nvSpPr>
              <p:cNvPr id="138" name="Freeform 137"/>
              <p:cNvSpPr>
                <a:spLocks/>
              </p:cNvSpPr>
              <p:nvPr/>
            </p:nvSpPr>
            <p:spPr bwMode="auto">
              <a:xfrm>
                <a:off x="3530600" y="1146175"/>
                <a:ext cx="5130800" cy="4565650"/>
              </a:xfrm>
              <a:custGeom>
                <a:avLst/>
                <a:gdLst>
                  <a:gd name="connsiteX0" fmla="*/ 2630488 w 5130800"/>
                  <a:gd name="connsiteY0" fmla="*/ 2919413 h 4565650"/>
                  <a:gd name="connsiteX1" fmla="*/ 2630488 w 5130800"/>
                  <a:gd name="connsiteY1" fmla="*/ 4425951 h 4565650"/>
                  <a:gd name="connsiteX2" fmla="*/ 3735388 w 5130800"/>
                  <a:gd name="connsiteY2" fmla="*/ 4425951 h 4565650"/>
                  <a:gd name="connsiteX3" fmla="*/ 3735388 w 5130800"/>
                  <a:gd name="connsiteY3" fmla="*/ 2919413 h 4565650"/>
                  <a:gd name="connsiteX4" fmla="*/ 1395413 w 5130800"/>
                  <a:gd name="connsiteY4" fmla="*/ 2919413 h 4565650"/>
                  <a:gd name="connsiteX5" fmla="*/ 1395413 w 5130800"/>
                  <a:gd name="connsiteY5" fmla="*/ 4425951 h 4565650"/>
                  <a:gd name="connsiteX6" fmla="*/ 2500313 w 5130800"/>
                  <a:gd name="connsiteY6" fmla="*/ 4425951 h 4565650"/>
                  <a:gd name="connsiteX7" fmla="*/ 2500313 w 5130800"/>
                  <a:gd name="connsiteY7" fmla="*/ 2919413 h 4565650"/>
                  <a:gd name="connsiteX8" fmla="*/ 1262063 w 5130800"/>
                  <a:gd name="connsiteY8" fmla="*/ 2568575 h 4565650"/>
                  <a:gd name="connsiteX9" fmla="*/ 1262063 w 5130800"/>
                  <a:gd name="connsiteY9" fmla="*/ 2789238 h 4565650"/>
                  <a:gd name="connsiteX10" fmla="*/ 3868738 w 5130800"/>
                  <a:gd name="connsiteY10" fmla="*/ 2789238 h 4565650"/>
                  <a:gd name="connsiteX11" fmla="*/ 3868738 w 5130800"/>
                  <a:gd name="connsiteY11" fmla="*/ 2568575 h 4565650"/>
                  <a:gd name="connsiteX12" fmla="*/ 2109788 w 5130800"/>
                  <a:gd name="connsiteY12" fmla="*/ 1152525 h 4565650"/>
                  <a:gd name="connsiteX13" fmla="*/ 2109788 w 5130800"/>
                  <a:gd name="connsiteY13" fmla="*/ 2071688 h 4565650"/>
                  <a:gd name="connsiteX14" fmla="*/ 3021013 w 5130800"/>
                  <a:gd name="connsiteY14" fmla="*/ 2071688 h 4565650"/>
                  <a:gd name="connsiteX15" fmla="*/ 3021013 w 5130800"/>
                  <a:gd name="connsiteY15" fmla="*/ 1152525 h 4565650"/>
                  <a:gd name="connsiteX16" fmla="*/ 2109788 w 5130800"/>
                  <a:gd name="connsiteY16" fmla="*/ 1020763 h 4565650"/>
                  <a:gd name="connsiteX17" fmla="*/ 3021013 w 5130800"/>
                  <a:gd name="connsiteY17" fmla="*/ 1020763 h 4565650"/>
                  <a:gd name="connsiteX18" fmla="*/ 3059113 w 5130800"/>
                  <a:gd name="connsiteY18" fmla="*/ 1027113 h 4565650"/>
                  <a:gd name="connsiteX19" fmla="*/ 3086101 w 5130800"/>
                  <a:gd name="connsiteY19" fmla="*/ 1038226 h 4565650"/>
                  <a:gd name="connsiteX20" fmla="*/ 3116263 w 5130800"/>
                  <a:gd name="connsiteY20" fmla="*/ 1058863 h 4565650"/>
                  <a:gd name="connsiteX21" fmla="*/ 3133726 w 5130800"/>
                  <a:gd name="connsiteY21" fmla="*/ 1082676 h 4565650"/>
                  <a:gd name="connsiteX22" fmla="*/ 3149601 w 5130800"/>
                  <a:gd name="connsiteY22" fmla="*/ 1116013 h 4565650"/>
                  <a:gd name="connsiteX23" fmla="*/ 3151188 w 5130800"/>
                  <a:gd name="connsiteY23" fmla="*/ 1152526 h 4565650"/>
                  <a:gd name="connsiteX24" fmla="*/ 3151188 w 5130800"/>
                  <a:gd name="connsiteY24" fmla="*/ 2071689 h 4565650"/>
                  <a:gd name="connsiteX25" fmla="*/ 3149601 w 5130800"/>
                  <a:gd name="connsiteY25" fmla="*/ 2105026 h 4565650"/>
                  <a:gd name="connsiteX26" fmla="*/ 3133726 w 5130800"/>
                  <a:gd name="connsiteY26" fmla="*/ 2136776 h 4565650"/>
                  <a:gd name="connsiteX27" fmla="*/ 3116263 w 5130800"/>
                  <a:gd name="connsiteY27" fmla="*/ 2160589 h 4565650"/>
                  <a:gd name="connsiteX28" fmla="*/ 3086101 w 5130800"/>
                  <a:gd name="connsiteY28" fmla="*/ 2181226 h 4565650"/>
                  <a:gd name="connsiteX29" fmla="*/ 3059113 w 5130800"/>
                  <a:gd name="connsiteY29" fmla="*/ 2197101 h 4565650"/>
                  <a:gd name="connsiteX30" fmla="*/ 3021013 w 5130800"/>
                  <a:gd name="connsiteY30" fmla="*/ 2200276 h 4565650"/>
                  <a:gd name="connsiteX31" fmla="*/ 2109788 w 5130800"/>
                  <a:gd name="connsiteY31" fmla="*/ 2200276 h 4565650"/>
                  <a:gd name="connsiteX32" fmla="*/ 2071688 w 5130800"/>
                  <a:gd name="connsiteY32" fmla="*/ 2197101 h 4565650"/>
                  <a:gd name="connsiteX33" fmla="*/ 2044701 w 5130800"/>
                  <a:gd name="connsiteY33" fmla="*/ 2181226 h 4565650"/>
                  <a:gd name="connsiteX34" fmla="*/ 2014538 w 5130800"/>
                  <a:gd name="connsiteY34" fmla="*/ 2160589 h 4565650"/>
                  <a:gd name="connsiteX35" fmla="*/ 1997076 w 5130800"/>
                  <a:gd name="connsiteY35" fmla="*/ 2136776 h 4565650"/>
                  <a:gd name="connsiteX36" fmla="*/ 1982788 w 5130800"/>
                  <a:gd name="connsiteY36" fmla="*/ 2105026 h 4565650"/>
                  <a:gd name="connsiteX37" fmla="*/ 1979613 w 5130800"/>
                  <a:gd name="connsiteY37" fmla="*/ 2071689 h 4565650"/>
                  <a:gd name="connsiteX38" fmla="*/ 1979613 w 5130800"/>
                  <a:gd name="connsiteY38" fmla="*/ 1152526 h 4565650"/>
                  <a:gd name="connsiteX39" fmla="*/ 1982788 w 5130800"/>
                  <a:gd name="connsiteY39" fmla="*/ 1116013 h 4565650"/>
                  <a:gd name="connsiteX40" fmla="*/ 1997076 w 5130800"/>
                  <a:gd name="connsiteY40" fmla="*/ 1082676 h 4565650"/>
                  <a:gd name="connsiteX41" fmla="*/ 2014538 w 5130800"/>
                  <a:gd name="connsiteY41" fmla="*/ 1058863 h 4565650"/>
                  <a:gd name="connsiteX42" fmla="*/ 2044701 w 5130800"/>
                  <a:gd name="connsiteY42" fmla="*/ 1038226 h 4565650"/>
                  <a:gd name="connsiteX43" fmla="*/ 2071688 w 5130800"/>
                  <a:gd name="connsiteY43" fmla="*/ 1027113 h 4565650"/>
                  <a:gd name="connsiteX44" fmla="*/ 2565401 w 5130800"/>
                  <a:gd name="connsiteY44" fmla="*/ 511175 h 4565650"/>
                  <a:gd name="connsiteX45" fmla="*/ 1273176 w 5130800"/>
                  <a:gd name="connsiteY45" fmla="*/ 931863 h 4565650"/>
                  <a:gd name="connsiteX46" fmla="*/ 898526 w 5130800"/>
                  <a:gd name="connsiteY46" fmla="*/ 1535113 h 4565650"/>
                  <a:gd name="connsiteX47" fmla="*/ 642938 w 5130800"/>
                  <a:gd name="connsiteY47" fmla="*/ 1949450 h 4565650"/>
                  <a:gd name="connsiteX48" fmla="*/ 642938 w 5130800"/>
                  <a:gd name="connsiteY48" fmla="*/ 4435475 h 4565650"/>
                  <a:gd name="connsiteX49" fmla="*/ 1268413 w 5130800"/>
                  <a:gd name="connsiteY49" fmla="*/ 4435475 h 4565650"/>
                  <a:gd name="connsiteX50" fmla="*/ 1265238 w 5130800"/>
                  <a:gd name="connsiteY50" fmla="*/ 4425950 h 4565650"/>
                  <a:gd name="connsiteX51" fmla="*/ 1265238 w 5130800"/>
                  <a:gd name="connsiteY51" fmla="*/ 2919413 h 4565650"/>
                  <a:gd name="connsiteX52" fmla="*/ 1196976 w 5130800"/>
                  <a:gd name="connsiteY52" fmla="*/ 2919413 h 4565650"/>
                  <a:gd name="connsiteX53" fmla="*/ 1169988 w 5130800"/>
                  <a:gd name="connsiteY53" fmla="*/ 2914650 h 4565650"/>
                  <a:gd name="connsiteX54" fmla="*/ 1149351 w 5130800"/>
                  <a:gd name="connsiteY54" fmla="*/ 2901950 h 4565650"/>
                  <a:gd name="connsiteX55" fmla="*/ 1133476 w 5130800"/>
                  <a:gd name="connsiteY55" fmla="*/ 2881313 h 4565650"/>
                  <a:gd name="connsiteX56" fmla="*/ 1130301 w 5130800"/>
                  <a:gd name="connsiteY56" fmla="*/ 2854325 h 4565650"/>
                  <a:gd name="connsiteX57" fmla="*/ 1130301 w 5130800"/>
                  <a:gd name="connsiteY57" fmla="*/ 2503488 h 4565650"/>
                  <a:gd name="connsiteX58" fmla="*/ 1133476 w 5130800"/>
                  <a:gd name="connsiteY58" fmla="*/ 2479675 h 4565650"/>
                  <a:gd name="connsiteX59" fmla="*/ 1149351 w 5130800"/>
                  <a:gd name="connsiteY59" fmla="*/ 2459038 h 4565650"/>
                  <a:gd name="connsiteX60" fmla="*/ 1169988 w 5130800"/>
                  <a:gd name="connsiteY60" fmla="*/ 2443163 h 4565650"/>
                  <a:gd name="connsiteX61" fmla="*/ 1196976 w 5130800"/>
                  <a:gd name="connsiteY61" fmla="*/ 2438400 h 4565650"/>
                  <a:gd name="connsiteX62" fmla="*/ 3935413 w 5130800"/>
                  <a:gd name="connsiteY62" fmla="*/ 2438400 h 4565650"/>
                  <a:gd name="connsiteX63" fmla="*/ 3960813 w 5130800"/>
                  <a:gd name="connsiteY63" fmla="*/ 2443163 h 4565650"/>
                  <a:gd name="connsiteX64" fmla="*/ 3983038 w 5130800"/>
                  <a:gd name="connsiteY64" fmla="*/ 2459038 h 4565650"/>
                  <a:gd name="connsiteX65" fmla="*/ 3997326 w 5130800"/>
                  <a:gd name="connsiteY65" fmla="*/ 2479675 h 4565650"/>
                  <a:gd name="connsiteX66" fmla="*/ 4000501 w 5130800"/>
                  <a:gd name="connsiteY66" fmla="*/ 2503488 h 4565650"/>
                  <a:gd name="connsiteX67" fmla="*/ 4000501 w 5130800"/>
                  <a:gd name="connsiteY67" fmla="*/ 2854325 h 4565650"/>
                  <a:gd name="connsiteX68" fmla="*/ 3997326 w 5130800"/>
                  <a:gd name="connsiteY68" fmla="*/ 2881313 h 4565650"/>
                  <a:gd name="connsiteX69" fmla="*/ 3983038 w 5130800"/>
                  <a:gd name="connsiteY69" fmla="*/ 2901950 h 4565650"/>
                  <a:gd name="connsiteX70" fmla="*/ 3960813 w 5130800"/>
                  <a:gd name="connsiteY70" fmla="*/ 2914650 h 4565650"/>
                  <a:gd name="connsiteX71" fmla="*/ 3935413 w 5130800"/>
                  <a:gd name="connsiteY71" fmla="*/ 2919413 h 4565650"/>
                  <a:gd name="connsiteX72" fmla="*/ 3865563 w 5130800"/>
                  <a:gd name="connsiteY72" fmla="*/ 2919413 h 4565650"/>
                  <a:gd name="connsiteX73" fmla="*/ 3865563 w 5130800"/>
                  <a:gd name="connsiteY73" fmla="*/ 4425950 h 4565650"/>
                  <a:gd name="connsiteX74" fmla="*/ 3863976 w 5130800"/>
                  <a:gd name="connsiteY74" fmla="*/ 4435475 h 4565650"/>
                  <a:gd name="connsiteX75" fmla="*/ 4487863 w 5130800"/>
                  <a:gd name="connsiteY75" fmla="*/ 4435475 h 4565650"/>
                  <a:gd name="connsiteX76" fmla="*/ 4487863 w 5130800"/>
                  <a:gd name="connsiteY76" fmla="*/ 1949450 h 4565650"/>
                  <a:gd name="connsiteX77" fmla="*/ 4232276 w 5130800"/>
                  <a:gd name="connsiteY77" fmla="*/ 1535113 h 4565650"/>
                  <a:gd name="connsiteX78" fmla="*/ 3857626 w 5130800"/>
                  <a:gd name="connsiteY78" fmla="*/ 931863 h 4565650"/>
                  <a:gd name="connsiteX79" fmla="*/ 2565401 w 5130800"/>
                  <a:gd name="connsiteY79" fmla="*/ 133350 h 4565650"/>
                  <a:gd name="connsiteX80" fmla="*/ 1038226 w 5130800"/>
                  <a:gd name="connsiteY80" fmla="*/ 633413 h 4565650"/>
                  <a:gd name="connsiteX81" fmla="*/ 150813 w 5130800"/>
                  <a:gd name="connsiteY81" fmla="*/ 2058988 h 4565650"/>
                  <a:gd name="connsiteX82" fmla="*/ 347663 w 5130800"/>
                  <a:gd name="connsiteY82" fmla="*/ 2178050 h 4565650"/>
                  <a:gd name="connsiteX83" fmla="*/ 1177926 w 5130800"/>
                  <a:gd name="connsiteY83" fmla="*/ 844550 h 4565650"/>
                  <a:gd name="connsiteX84" fmla="*/ 1193801 w 5130800"/>
                  <a:gd name="connsiteY84" fmla="*/ 827088 h 4565650"/>
                  <a:gd name="connsiteX85" fmla="*/ 1211263 w 5130800"/>
                  <a:gd name="connsiteY85" fmla="*/ 815975 h 4565650"/>
                  <a:gd name="connsiteX86" fmla="*/ 2544763 w 5130800"/>
                  <a:gd name="connsiteY86" fmla="*/ 381000 h 4565650"/>
                  <a:gd name="connsiteX87" fmla="*/ 2554288 w 5130800"/>
                  <a:gd name="connsiteY87" fmla="*/ 377825 h 4565650"/>
                  <a:gd name="connsiteX88" fmla="*/ 2565401 w 5130800"/>
                  <a:gd name="connsiteY88" fmla="*/ 377825 h 4565650"/>
                  <a:gd name="connsiteX89" fmla="*/ 2578101 w 5130800"/>
                  <a:gd name="connsiteY89" fmla="*/ 377825 h 4565650"/>
                  <a:gd name="connsiteX90" fmla="*/ 2586038 w 5130800"/>
                  <a:gd name="connsiteY90" fmla="*/ 381000 h 4565650"/>
                  <a:gd name="connsiteX91" fmla="*/ 3919538 w 5130800"/>
                  <a:gd name="connsiteY91" fmla="*/ 815975 h 4565650"/>
                  <a:gd name="connsiteX92" fmla="*/ 3937001 w 5130800"/>
                  <a:gd name="connsiteY92" fmla="*/ 827088 h 4565650"/>
                  <a:gd name="connsiteX93" fmla="*/ 3952876 w 5130800"/>
                  <a:gd name="connsiteY93" fmla="*/ 844550 h 4565650"/>
                  <a:gd name="connsiteX94" fmla="*/ 4783138 w 5130800"/>
                  <a:gd name="connsiteY94" fmla="*/ 2178050 h 4565650"/>
                  <a:gd name="connsiteX95" fmla="*/ 4979988 w 5130800"/>
                  <a:gd name="connsiteY95" fmla="*/ 2058988 h 4565650"/>
                  <a:gd name="connsiteX96" fmla="*/ 4497388 w 5130800"/>
                  <a:gd name="connsiteY96" fmla="*/ 1285875 h 4565650"/>
                  <a:gd name="connsiteX97" fmla="*/ 4092576 w 5130800"/>
                  <a:gd name="connsiteY97" fmla="*/ 633413 h 4565650"/>
                  <a:gd name="connsiteX98" fmla="*/ 2565400 w 5130800"/>
                  <a:gd name="connsiteY98" fmla="*/ 0 h 4565650"/>
                  <a:gd name="connsiteX99" fmla="*/ 2586038 w 5130800"/>
                  <a:gd name="connsiteY99" fmla="*/ 6350 h 4565650"/>
                  <a:gd name="connsiteX100" fmla="*/ 4154488 w 5130800"/>
                  <a:gd name="connsiteY100" fmla="*/ 514350 h 4565650"/>
                  <a:gd name="connsiteX101" fmla="*/ 4175125 w 5130800"/>
                  <a:gd name="connsiteY101" fmla="*/ 527050 h 4565650"/>
                  <a:gd name="connsiteX102" fmla="*/ 4187825 w 5130800"/>
                  <a:gd name="connsiteY102" fmla="*/ 541338 h 4565650"/>
                  <a:gd name="connsiteX103" fmla="*/ 5122862 w 5130800"/>
                  <a:gd name="connsiteY103" fmla="*/ 2044700 h 4565650"/>
                  <a:gd name="connsiteX104" fmla="*/ 5130800 w 5130800"/>
                  <a:gd name="connsiteY104" fmla="*/ 2068513 h 4565650"/>
                  <a:gd name="connsiteX105" fmla="*/ 5130800 w 5130800"/>
                  <a:gd name="connsiteY105" fmla="*/ 2092325 h 4565650"/>
                  <a:gd name="connsiteX106" fmla="*/ 5119688 w 5130800"/>
                  <a:gd name="connsiteY106" fmla="*/ 2116138 h 4565650"/>
                  <a:gd name="connsiteX107" fmla="*/ 5102225 w 5130800"/>
                  <a:gd name="connsiteY107" fmla="*/ 2133600 h 4565650"/>
                  <a:gd name="connsiteX108" fmla="*/ 4797425 w 5130800"/>
                  <a:gd name="connsiteY108" fmla="*/ 2320925 h 4565650"/>
                  <a:gd name="connsiteX109" fmla="*/ 4779963 w 5130800"/>
                  <a:gd name="connsiteY109" fmla="*/ 2330450 h 4565650"/>
                  <a:gd name="connsiteX110" fmla="*/ 4762500 w 5130800"/>
                  <a:gd name="connsiteY110" fmla="*/ 2333625 h 4565650"/>
                  <a:gd name="connsiteX111" fmla="*/ 4741863 w 5130800"/>
                  <a:gd name="connsiteY111" fmla="*/ 2330450 h 4565650"/>
                  <a:gd name="connsiteX112" fmla="*/ 4722813 w 5130800"/>
                  <a:gd name="connsiteY112" fmla="*/ 2319338 h 4565650"/>
                  <a:gd name="connsiteX113" fmla="*/ 4708525 w 5130800"/>
                  <a:gd name="connsiteY113" fmla="*/ 2300288 h 4565650"/>
                  <a:gd name="connsiteX114" fmla="*/ 4616450 w 5130800"/>
                  <a:gd name="connsiteY114" fmla="*/ 2154238 h 4565650"/>
                  <a:gd name="connsiteX115" fmla="*/ 4616450 w 5130800"/>
                  <a:gd name="connsiteY115" fmla="*/ 4435475 h 4565650"/>
                  <a:gd name="connsiteX116" fmla="*/ 4837113 w 5130800"/>
                  <a:gd name="connsiteY116" fmla="*/ 4435475 h 4565650"/>
                  <a:gd name="connsiteX117" fmla="*/ 4860925 w 5130800"/>
                  <a:gd name="connsiteY117" fmla="*/ 4440238 h 4565650"/>
                  <a:gd name="connsiteX118" fmla="*/ 4881562 w 5130800"/>
                  <a:gd name="connsiteY118" fmla="*/ 4452938 h 4565650"/>
                  <a:gd name="connsiteX119" fmla="*/ 4895850 w 5130800"/>
                  <a:gd name="connsiteY119" fmla="*/ 4473575 h 4565650"/>
                  <a:gd name="connsiteX120" fmla="*/ 4899025 w 5130800"/>
                  <a:gd name="connsiteY120" fmla="*/ 4500563 h 4565650"/>
                  <a:gd name="connsiteX121" fmla="*/ 4895850 w 5130800"/>
                  <a:gd name="connsiteY121" fmla="*/ 4524375 h 4565650"/>
                  <a:gd name="connsiteX122" fmla="*/ 4881562 w 5130800"/>
                  <a:gd name="connsiteY122" fmla="*/ 4545013 h 4565650"/>
                  <a:gd name="connsiteX123" fmla="*/ 4860925 w 5130800"/>
                  <a:gd name="connsiteY123" fmla="*/ 4559300 h 4565650"/>
                  <a:gd name="connsiteX124" fmla="*/ 4837113 w 5130800"/>
                  <a:gd name="connsiteY124" fmla="*/ 4565650 h 4565650"/>
                  <a:gd name="connsiteX125" fmla="*/ 293688 w 5130800"/>
                  <a:gd name="connsiteY125" fmla="*/ 4565650 h 4565650"/>
                  <a:gd name="connsiteX126" fmla="*/ 269875 w 5130800"/>
                  <a:gd name="connsiteY126" fmla="*/ 4559300 h 4565650"/>
                  <a:gd name="connsiteX127" fmla="*/ 249238 w 5130800"/>
                  <a:gd name="connsiteY127" fmla="*/ 4545013 h 4565650"/>
                  <a:gd name="connsiteX128" fmla="*/ 234950 w 5130800"/>
                  <a:gd name="connsiteY128" fmla="*/ 4524375 h 4565650"/>
                  <a:gd name="connsiteX129" fmla="*/ 231775 w 5130800"/>
                  <a:gd name="connsiteY129" fmla="*/ 4500563 h 4565650"/>
                  <a:gd name="connsiteX130" fmla="*/ 234950 w 5130800"/>
                  <a:gd name="connsiteY130" fmla="*/ 4473575 h 4565650"/>
                  <a:gd name="connsiteX131" fmla="*/ 249238 w 5130800"/>
                  <a:gd name="connsiteY131" fmla="*/ 4452938 h 4565650"/>
                  <a:gd name="connsiteX132" fmla="*/ 269875 w 5130800"/>
                  <a:gd name="connsiteY132" fmla="*/ 4440238 h 4565650"/>
                  <a:gd name="connsiteX133" fmla="*/ 293688 w 5130800"/>
                  <a:gd name="connsiteY133" fmla="*/ 4435475 h 4565650"/>
                  <a:gd name="connsiteX134" fmla="*/ 514350 w 5130800"/>
                  <a:gd name="connsiteY134" fmla="*/ 4435475 h 4565650"/>
                  <a:gd name="connsiteX135" fmla="*/ 514350 w 5130800"/>
                  <a:gd name="connsiteY135" fmla="*/ 2154238 h 4565650"/>
                  <a:gd name="connsiteX136" fmla="*/ 422275 w 5130800"/>
                  <a:gd name="connsiteY136" fmla="*/ 2300288 h 4565650"/>
                  <a:gd name="connsiteX137" fmla="*/ 404813 w 5130800"/>
                  <a:gd name="connsiteY137" fmla="*/ 2320925 h 4565650"/>
                  <a:gd name="connsiteX138" fmla="*/ 384175 w 5130800"/>
                  <a:gd name="connsiteY138" fmla="*/ 2330450 h 4565650"/>
                  <a:gd name="connsiteX139" fmla="*/ 360363 w 5130800"/>
                  <a:gd name="connsiteY139" fmla="*/ 2333625 h 4565650"/>
                  <a:gd name="connsiteX140" fmla="*/ 333375 w 5130800"/>
                  <a:gd name="connsiteY140" fmla="*/ 2320925 h 4565650"/>
                  <a:gd name="connsiteX141" fmla="*/ 30163 w 5130800"/>
                  <a:gd name="connsiteY141" fmla="*/ 2133600 h 4565650"/>
                  <a:gd name="connsiteX142" fmla="*/ 11113 w 5130800"/>
                  <a:gd name="connsiteY142" fmla="*/ 2116138 h 4565650"/>
                  <a:gd name="connsiteX143" fmla="*/ 0 w 5130800"/>
                  <a:gd name="connsiteY143" fmla="*/ 2092325 h 4565650"/>
                  <a:gd name="connsiteX144" fmla="*/ 0 w 5130800"/>
                  <a:gd name="connsiteY144" fmla="*/ 2068513 h 4565650"/>
                  <a:gd name="connsiteX145" fmla="*/ 7938 w 5130800"/>
                  <a:gd name="connsiteY145" fmla="*/ 2044700 h 4565650"/>
                  <a:gd name="connsiteX146" fmla="*/ 942975 w 5130800"/>
                  <a:gd name="connsiteY146" fmla="*/ 541338 h 4565650"/>
                  <a:gd name="connsiteX147" fmla="*/ 955675 w 5130800"/>
                  <a:gd name="connsiteY147" fmla="*/ 527050 h 4565650"/>
                  <a:gd name="connsiteX148" fmla="*/ 976313 w 5130800"/>
                  <a:gd name="connsiteY148" fmla="*/ 514350 h 4565650"/>
                  <a:gd name="connsiteX149" fmla="*/ 2544763 w 5130800"/>
                  <a:gd name="connsiteY149" fmla="*/ 6350 h 456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5130800" h="4565650">
                    <a:moveTo>
                      <a:pt x="2630488" y="2919413"/>
                    </a:moveTo>
                    <a:lnTo>
                      <a:pt x="2630488" y="4425951"/>
                    </a:lnTo>
                    <a:lnTo>
                      <a:pt x="3735388" y="4425951"/>
                    </a:lnTo>
                    <a:lnTo>
                      <a:pt x="3735388" y="2919413"/>
                    </a:lnTo>
                    <a:close/>
                    <a:moveTo>
                      <a:pt x="1395413" y="2919413"/>
                    </a:moveTo>
                    <a:lnTo>
                      <a:pt x="1395413" y="4425951"/>
                    </a:lnTo>
                    <a:lnTo>
                      <a:pt x="2500313" y="4425951"/>
                    </a:lnTo>
                    <a:lnTo>
                      <a:pt x="2500313" y="2919413"/>
                    </a:lnTo>
                    <a:close/>
                    <a:moveTo>
                      <a:pt x="1262063" y="2568575"/>
                    </a:moveTo>
                    <a:lnTo>
                      <a:pt x="1262063" y="2789238"/>
                    </a:lnTo>
                    <a:lnTo>
                      <a:pt x="3868738" y="2789238"/>
                    </a:lnTo>
                    <a:lnTo>
                      <a:pt x="3868738" y="2568575"/>
                    </a:lnTo>
                    <a:close/>
                    <a:moveTo>
                      <a:pt x="2109788" y="1152525"/>
                    </a:moveTo>
                    <a:lnTo>
                      <a:pt x="2109788" y="2071688"/>
                    </a:lnTo>
                    <a:lnTo>
                      <a:pt x="3021013" y="2071688"/>
                    </a:lnTo>
                    <a:lnTo>
                      <a:pt x="3021013" y="1152525"/>
                    </a:lnTo>
                    <a:close/>
                    <a:moveTo>
                      <a:pt x="2109788" y="1020763"/>
                    </a:moveTo>
                    <a:lnTo>
                      <a:pt x="3021013" y="1020763"/>
                    </a:lnTo>
                    <a:lnTo>
                      <a:pt x="3059113" y="1027113"/>
                    </a:lnTo>
                    <a:lnTo>
                      <a:pt x="3086101" y="1038226"/>
                    </a:lnTo>
                    <a:lnTo>
                      <a:pt x="3116263" y="1058863"/>
                    </a:lnTo>
                    <a:lnTo>
                      <a:pt x="3133726" y="1082676"/>
                    </a:lnTo>
                    <a:lnTo>
                      <a:pt x="3149601" y="1116013"/>
                    </a:lnTo>
                    <a:lnTo>
                      <a:pt x="3151188" y="1152526"/>
                    </a:lnTo>
                    <a:lnTo>
                      <a:pt x="3151188" y="2071689"/>
                    </a:lnTo>
                    <a:lnTo>
                      <a:pt x="3149601" y="2105026"/>
                    </a:lnTo>
                    <a:lnTo>
                      <a:pt x="3133726" y="2136776"/>
                    </a:lnTo>
                    <a:lnTo>
                      <a:pt x="3116263" y="2160589"/>
                    </a:lnTo>
                    <a:lnTo>
                      <a:pt x="3086101" y="2181226"/>
                    </a:lnTo>
                    <a:lnTo>
                      <a:pt x="3059113" y="2197101"/>
                    </a:lnTo>
                    <a:lnTo>
                      <a:pt x="3021013" y="2200276"/>
                    </a:lnTo>
                    <a:lnTo>
                      <a:pt x="2109788" y="2200276"/>
                    </a:lnTo>
                    <a:lnTo>
                      <a:pt x="2071688" y="2197101"/>
                    </a:lnTo>
                    <a:lnTo>
                      <a:pt x="2044701" y="2181226"/>
                    </a:lnTo>
                    <a:lnTo>
                      <a:pt x="2014538" y="2160589"/>
                    </a:lnTo>
                    <a:lnTo>
                      <a:pt x="1997076" y="2136776"/>
                    </a:lnTo>
                    <a:lnTo>
                      <a:pt x="1982788" y="2105026"/>
                    </a:lnTo>
                    <a:lnTo>
                      <a:pt x="1979613" y="2071689"/>
                    </a:lnTo>
                    <a:lnTo>
                      <a:pt x="1979613" y="1152526"/>
                    </a:lnTo>
                    <a:lnTo>
                      <a:pt x="1982788" y="1116013"/>
                    </a:lnTo>
                    <a:lnTo>
                      <a:pt x="1997076" y="1082676"/>
                    </a:lnTo>
                    <a:lnTo>
                      <a:pt x="2014538" y="1058863"/>
                    </a:lnTo>
                    <a:lnTo>
                      <a:pt x="2044701" y="1038226"/>
                    </a:lnTo>
                    <a:lnTo>
                      <a:pt x="2071688" y="1027113"/>
                    </a:lnTo>
                    <a:close/>
                    <a:moveTo>
                      <a:pt x="2565401" y="511175"/>
                    </a:moveTo>
                    <a:lnTo>
                      <a:pt x="1273176" y="931863"/>
                    </a:lnTo>
                    <a:lnTo>
                      <a:pt x="898526" y="1535113"/>
                    </a:lnTo>
                    <a:lnTo>
                      <a:pt x="642938" y="1949450"/>
                    </a:lnTo>
                    <a:lnTo>
                      <a:pt x="642938" y="4435475"/>
                    </a:lnTo>
                    <a:lnTo>
                      <a:pt x="1268413" y="4435475"/>
                    </a:lnTo>
                    <a:lnTo>
                      <a:pt x="1265238" y="4425950"/>
                    </a:lnTo>
                    <a:lnTo>
                      <a:pt x="1265238" y="2919413"/>
                    </a:lnTo>
                    <a:lnTo>
                      <a:pt x="1196976" y="2919413"/>
                    </a:lnTo>
                    <a:lnTo>
                      <a:pt x="1169988" y="2914650"/>
                    </a:lnTo>
                    <a:lnTo>
                      <a:pt x="1149351" y="2901950"/>
                    </a:lnTo>
                    <a:lnTo>
                      <a:pt x="1133476" y="2881313"/>
                    </a:lnTo>
                    <a:lnTo>
                      <a:pt x="1130301" y="2854325"/>
                    </a:lnTo>
                    <a:lnTo>
                      <a:pt x="1130301" y="2503488"/>
                    </a:lnTo>
                    <a:lnTo>
                      <a:pt x="1133476" y="2479675"/>
                    </a:lnTo>
                    <a:lnTo>
                      <a:pt x="1149351" y="2459038"/>
                    </a:lnTo>
                    <a:lnTo>
                      <a:pt x="1169988" y="2443163"/>
                    </a:lnTo>
                    <a:lnTo>
                      <a:pt x="1196976" y="2438400"/>
                    </a:lnTo>
                    <a:lnTo>
                      <a:pt x="3935413" y="2438400"/>
                    </a:lnTo>
                    <a:lnTo>
                      <a:pt x="3960813" y="2443163"/>
                    </a:lnTo>
                    <a:lnTo>
                      <a:pt x="3983038" y="2459038"/>
                    </a:lnTo>
                    <a:lnTo>
                      <a:pt x="3997326" y="2479675"/>
                    </a:lnTo>
                    <a:lnTo>
                      <a:pt x="4000501" y="2503488"/>
                    </a:lnTo>
                    <a:lnTo>
                      <a:pt x="4000501" y="2854325"/>
                    </a:lnTo>
                    <a:lnTo>
                      <a:pt x="3997326" y="2881313"/>
                    </a:lnTo>
                    <a:lnTo>
                      <a:pt x="3983038" y="2901950"/>
                    </a:lnTo>
                    <a:lnTo>
                      <a:pt x="3960813" y="2914650"/>
                    </a:lnTo>
                    <a:lnTo>
                      <a:pt x="3935413" y="2919413"/>
                    </a:lnTo>
                    <a:lnTo>
                      <a:pt x="3865563" y="2919413"/>
                    </a:lnTo>
                    <a:lnTo>
                      <a:pt x="3865563" y="4425950"/>
                    </a:lnTo>
                    <a:lnTo>
                      <a:pt x="3863976" y="4435475"/>
                    </a:lnTo>
                    <a:lnTo>
                      <a:pt x="4487863" y="4435475"/>
                    </a:lnTo>
                    <a:lnTo>
                      <a:pt x="4487863" y="1949450"/>
                    </a:lnTo>
                    <a:lnTo>
                      <a:pt x="4232276" y="1535113"/>
                    </a:lnTo>
                    <a:lnTo>
                      <a:pt x="3857626" y="931863"/>
                    </a:lnTo>
                    <a:close/>
                    <a:moveTo>
                      <a:pt x="2565401" y="133350"/>
                    </a:moveTo>
                    <a:lnTo>
                      <a:pt x="1038226" y="633413"/>
                    </a:lnTo>
                    <a:lnTo>
                      <a:pt x="150813" y="2058988"/>
                    </a:lnTo>
                    <a:lnTo>
                      <a:pt x="347663" y="2178050"/>
                    </a:lnTo>
                    <a:lnTo>
                      <a:pt x="1177926" y="844550"/>
                    </a:lnTo>
                    <a:lnTo>
                      <a:pt x="1193801" y="827088"/>
                    </a:lnTo>
                    <a:lnTo>
                      <a:pt x="1211263" y="815975"/>
                    </a:lnTo>
                    <a:lnTo>
                      <a:pt x="2544763" y="381000"/>
                    </a:lnTo>
                    <a:lnTo>
                      <a:pt x="2554288" y="377825"/>
                    </a:lnTo>
                    <a:lnTo>
                      <a:pt x="2565401" y="377825"/>
                    </a:lnTo>
                    <a:lnTo>
                      <a:pt x="2578101" y="377825"/>
                    </a:lnTo>
                    <a:lnTo>
                      <a:pt x="2586038" y="381000"/>
                    </a:lnTo>
                    <a:lnTo>
                      <a:pt x="3919538" y="815975"/>
                    </a:lnTo>
                    <a:lnTo>
                      <a:pt x="3937001" y="827088"/>
                    </a:lnTo>
                    <a:lnTo>
                      <a:pt x="3952876" y="844550"/>
                    </a:lnTo>
                    <a:lnTo>
                      <a:pt x="4783138" y="2178050"/>
                    </a:lnTo>
                    <a:lnTo>
                      <a:pt x="4979988" y="2058988"/>
                    </a:lnTo>
                    <a:lnTo>
                      <a:pt x="4497388" y="1285875"/>
                    </a:lnTo>
                    <a:lnTo>
                      <a:pt x="4092576" y="633413"/>
                    </a:lnTo>
                    <a:close/>
                    <a:moveTo>
                      <a:pt x="2565400" y="0"/>
                    </a:moveTo>
                    <a:lnTo>
                      <a:pt x="2586038" y="6350"/>
                    </a:lnTo>
                    <a:lnTo>
                      <a:pt x="4154488" y="514350"/>
                    </a:lnTo>
                    <a:lnTo>
                      <a:pt x="4175125" y="527050"/>
                    </a:lnTo>
                    <a:lnTo>
                      <a:pt x="4187825" y="541338"/>
                    </a:lnTo>
                    <a:lnTo>
                      <a:pt x="5122862" y="2044700"/>
                    </a:lnTo>
                    <a:lnTo>
                      <a:pt x="5130800" y="2068513"/>
                    </a:lnTo>
                    <a:lnTo>
                      <a:pt x="5130800" y="2092325"/>
                    </a:lnTo>
                    <a:lnTo>
                      <a:pt x="5119688" y="2116138"/>
                    </a:lnTo>
                    <a:lnTo>
                      <a:pt x="5102225" y="2133600"/>
                    </a:lnTo>
                    <a:lnTo>
                      <a:pt x="4797425" y="2320925"/>
                    </a:lnTo>
                    <a:lnTo>
                      <a:pt x="4779963" y="2330450"/>
                    </a:lnTo>
                    <a:lnTo>
                      <a:pt x="4762500" y="2333625"/>
                    </a:lnTo>
                    <a:lnTo>
                      <a:pt x="4741863" y="2330450"/>
                    </a:lnTo>
                    <a:lnTo>
                      <a:pt x="4722813" y="2319338"/>
                    </a:lnTo>
                    <a:lnTo>
                      <a:pt x="4708525" y="2300288"/>
                    </a:lnTo>
                    <a:lnTo>
                      <a:pt x="4616450" y="2154238"/>
                    </a:lnTo>
                    <a:lnTo>
                      <a:pt x="4616450" y="4435475"/>
                    </a:lnTo>
                    <a:lnTo>
                      <a:pt x="4837113" y="4435475"/>
                    </a:lnTo>
                    <a:lnTo>
                      <a:pt x="4860925" y="4440238"/>
                    </a:lnTo>
                    <a:lnTo>
                      <a:pt x="4881562" y="4452938"/>
                    </a:lnTo>
                    <a:lnTo>
                      <a:pt x="4895850" y="4473575"/>
                    </a:lnTo>
                    <a:lnTo>
                      <a:pt x="4899025" y="4500563"/>
                    </a:lnTo>
                    <a:lnTo>
                      <a:pt x="4895850" y="4524375"/>
                    </a:lnTo>
                    <a:lnTo>
                      <a:pt x="4881562" y="4545013"/>
                    </a:lnTo>
                    <a:lnTo>
                      <a:pt x="4860925" y="4559300"/>
                    </a:lnTo>
                    <a:lnTo>
                      <a:pt x="4837113" y="4565650"/>
                    </a:lnTo>
                    <a:lnTo>
                      <a:pt x="293688" y="4565650"/>
                    </a:lnTo>
                    <a:lnTo>
                      <a:pt x="269875" y="4559300"/>
                    </a:lnTo>
                    <a:lnTo>
                      <a:pt x="249238" y="4545013"/>
                    </a:lnTo>
                    <a:lnTo>
                      <a:pt x="234950" y="4524375"/>
                    </a:lnTo>
                    <a:lnTo>
                      <a:pt x="231775" y="4500563"/>
                    </a:lnTo>
                    <a:lnTo>
                      <a:pt x="234950" y="4473575"/>
                    </a:lnTo>
                    <a:lnTo>
                      <a:pt x="249238" y="4452938"/>
                    </a:lnTo>
                    <a:lnTo>
                      <a:pt x="269875" y="4440238"/>
                    </a:lnTo>
                    <a:lnTo>
                      <a:pt x="293688" y="4435475"/>
                    </a:lnTo>
                    <a:lnTo>
                      <a:pt x="514350" y="4435475"/>
                    </a:lnTo>
                    <a:lnTo>
                      <a:pt x="514350" y="2154238"/>
                    </a:lnTo>
                    <a:lnTo>
                      <a:pt x="422275" y="2300288"/>
                    </a:lnTo>
                    <a:lnTo>
                      <a:pt x="404813" y="2320925"/>
                    </a:lnTo>
                    <a:lnTo>
                      <a:pt x="384175" y="2330450"/>
                    </a:lnTo>
                    <a:lnTo>
                      <a:pt x="360363" y="2333625"/>
                    </a:lnTo>
                    <a:lnTo>
                      <a:pt x="333375" y="2320925"/>
                    </a:lnTo>
                    <a:lnTo>
                      <a:pt x="30163" y="2133600"/>
                    </a:lnTo>
                    <a:lnTo>
                      <a:pt x="11113" y="2116138"/>
                    </a:lnTo>
                    <a:lnTo>
                      <a:pt x="0" y="2092325"/>
                    </a:lnTo>
                    <a:lnTo>
                      <a:pt x="0" y="2068513"/>
                    </a:lnTo>
                    <a:lnTo>
                      <a:pt x="7938" y="2044700"/>
                    </a:lnTo>
                    <a:lnTo>
                      <a:pt x="942975" y="541338"/>
                    </a:lnTo>
                    <a:lnTo>
                      <a:pt x="955675" y="527050"/>
                    </a:lnTo>
                    <a:lnTo>
                      <a:pt x="976313" y="514350"/>
                    </a:lnTo>
                    <a:lnTo>
                      <a:pt x="2544763" y="6350"/>
                    </a:ln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139" name="Freeform 138"/>
              <p:cNvSpPr>
                <a:spLocks/>
              </p:cNvSpPr>
              <p:nvPr/>
            </p:nvSpPr>
            <p:spPr bwMode="auto">
              <a:xfrm>
                <a:off x="5057775" y="2428875"/>
                <a:ext cx="2076450" cy="3013075"/>
              </a:xfrm>
              <a:custGeom>
                <a:avLst/>
                <a:gdLst>
                  <a:gd name="connsiteX0" fmla="*/ 1231900 w 2076450"/>
                  <a:gd name="connsiteY0" fmla="*/ 1765300 h 3013075"/>
                  <a:gd name="connsiteX1" fmla="*/ 2076450 w 2076450"/>
                  <a:gd name="connsiteY1" fmla="*/ 1765300 h 3013075"/>
                  <a:gd name="connsiteX2" fmla="*/ 2076450 w 2076450"/>
                  <a:gd name="connsiteY2" fmla="*/ 3013075 h 3013075"/>
                  <a:gd name="connsiteX3" fmla="*/ 1231900 w 2076450"/>
                  <a:gd name="connsiteY3" fmla="*/ 3013075 h 3013075"/>
                  <a:gd name="connsiteX4" fmla="*/ 0 w 2076450"/>
                  <a:gd name="connsiteY4" fmla="*/ 1765300 h 3013075"/>
                  <a:gd name="connsiteX5" fmla="*/ 844550 w 2076450"/>
                  <a:gd name="connsiteY5" fmla="*/ 1765300 h 3013075"/>
                  <a:gd name="connsiteX6" fmla="*/ 844550 w 2076450"/>
                  <a:gd name="connsiteY6" fmla="*/ 3013075 h 3013075"/>
                  <a:gd name="connsiteX7" fmla="*/ 0 w 2076450"/>
                  <a:gd name="connsiteY7" fmla="*/ 3013075 h 3013075"/>
                  <a:gd name="connsiteX8" fmla="*/ 711200 w 2076450"/>
                  <a:gd name="connsiteY8" fmla="*/ 0 h 3013075"/>
                  <a:gd name="connsiteX9" fmla="*/ 1365250 w 2076450"/>
                  <a:gd name="connsiteY9" fmla="*/ 0 h 3013075"/>
                  <a:gd name="connsiteX10" fmla="*/ 1365250 w 2076450"/>
                  <a:gd name="connsiteY10" fmla="*/ 657225 h 3013075"/>
                  <a:gd name="connsiteX11" fmla="*/ 711200 w 2076450"/>
                  <a:gd name="connsiteY11" fmla="*/ 657225 h 3013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76450" h="3013075">
                    <a:moveTo>
                      <a:pt x="1231900" y="1765300"/>
                    </a:moveTo>
                    <a:lnTo>
                      <a:pt x="2076450" y="1765300"/>
                    </a:lnTo>
                    <a:lnTo>
                      <a:pt x="2076450" y="3013075"/>
                    </a:lnTo>
                    <a:lnTo>
                      <a:pt x="1231900" y="3013075"/>
                    </a:lnTo>
                    <a:close/>
                    <a:moveTo>
                      <a:pt x="0" y="1765300"/>
                    </a:moveTo>
                    <a:lnTo>
                      <a:pt x="844550" y="1765300"/>
                    </a:lnTo>
                    <a:lnTo>
                      <a:pt x="844550" y="3013075"/>
                    </a:lnTo>
                    <a:lnTo>
                      <a:pt x="0" y="3013075"/>
                    </a:lnTo>
                    <a:close/>
                    <a:moveTo>
                      <a:pt x="711200" y="0"/>
                    </a:moveTo>
                    <a:lnTo>
                      <a:pt x="1365250" y="0"/>
                    </a:lnTo>
                    <a:lnTo>
                      <a:pt x="1365250" y="657225"/>
                    </a:lnTo>
                    <a:lnTo>
                      <a:pt x="711200" y="657225"/>
                    </a:lnTo>
                    <a:close/>
                  </a:path>
                </a:pathLst>
              </a:custGeom>
              <a:solidFill>
                <a:srgbClr val="CCD3E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dirty="0">
                  <a:solidFill>
                    <a:srgbClr val="686F6F"/>
                  </a:solidFill>
                </a:endParaRPr>
              </a:p>
            </p:txBody>
          </p:sp>
        </p:grpSp>
      </p:grpSp>
      <p:cxnSp>
        <p:nvCxnSpPr>
          <p:cNvPr id="140" name="Straight Arrow Connector 139"/>
          <p:cNvCxnSpPr/>
          <p:nvPr/>
        </p:nvCxnSpPr>
        <p:spPr>
          <a:xfrm>
            <a:off x="7372644" y="5052787"/>
            <a:ext cx="564663" cy="0"/>
          </a:xfrm>
          <a:prstGeom prst="straightConnector1">
            <a:avLst/>
          </a:prstGeom>
          <a:ln w="31750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/>
          <p:cNvCxnSpPr/>
          <p:nvPr/>
        </p:nvCxnSpPr>
        <p:spPr>
          <a:xfrm>
            <a:off x="9445055" y="5052787"/>
            <a:ext cx="564663" cy="0"/>
          </a:xfrm>
          <a:prstGeom prst="straightConnector1">
            <a:avLst/>
          </a:prstGeom>
          <a:ln w="31750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/>
          <p:cNvSpPr txBox="1"/>
          <p:nvPr/>
        </p:nvSpPr>
        <p:spPr>
          <a:xfrm>
            <a:off x="8103552" y="5852302"/>
            <a:ext cx="117525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rgbClr val="670F31"/>
                </a:solidFill>
                <a:latin typeface="+mj-lt"/>
              </a:defRPr>
            </a:lvl1pPr>
          </a:lstStyle>
          <a:p>
            <a:r>
              <a:rPr lang="ru-RU" dirty="0"/>
              <a:t>Дистрибьютор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216383" y="4433102"/>
            <a:ext cx="457200" cy="585449"/>
            <a:chOff x="2247900" y="4229100"/>
            <a:chExt cx="457200" cy="585449"/>
          </a:xfrm>
        </p:grpSpPr>
        <p:sp>
          <p:nvSpPr>
            <p:cNvPr id="110" name="TextBox 109"/>
            <p:cNvSpPr txBox="1"/>
            <p:nvPr/>
          </p:nvSpPr>
          <p:spPr>
            <a:xfrm>
              <a:off x="2354672" y="4660661"/>
              <a:ext cx="243656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ru-RU" sz="1000" b="1" dirty="0" err="1">
                  <a:solidFill>
                    <a:srgbClr val="686F6F"/>
                  </a:solidFill>
                  <a:latin typeface="+mj-lt"/>
                </a:rPr>
                <a:t>ЭВС</a:t>
              </a:r>
              <a:endParaRPr lang="ru-RU" sz="1000" b="1" dirty="0">
                <a:solidFill>
                  <a:srgbClr val="686F6F"/>
                </a:solidFill>
                <a:latin typeface="+mj-lt"/>
              </a:endParaRPr>
            </a:p>
          </p:txBody>
        </p:sp>
        <p:grpSp>
          <p:nvGrpSpPr>
            <p:cNvPr id="143" name="Group 142"/>
            <p:cNvGrpSpPr/>
            <p:nvPr/>
          </p:nvGrpSpPr>
          <p:grpSpPr>
            <a:xfrm>
              <a:off x="2247900" y="4229100"/>
              <a:ext cx="457200" cy="457200"/>
              <a:chOff x="5868000" y="3191828"/>
              <a:chExt cx="457200" cy="457200"/>
            </a:xfrm>
          </p:grpSpPr>
          <p:sp>
            <p:nvSpPr>
              <p:cNvPr id="14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868000" y="3191828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145" name="Freeform 5"/>
              <p:cNvSpPr>
                <a:spLocks noEditPoints="1"/>
              </p:cNvSpPr>
              <p:nvPr/>
            </p:nvSpPr>
            <p:spPr bwMode="auto">
              <a:xfrm>
                <a:off x="5950550" y="3245803"/>
                <a:ext cx="292100" cy="349250"/>
              </a:xfrm>
              <a:custGeom>
                <a:avLst/>
                <a:gdLst>
                  <a:gd name="T0" fmla="*/ 587 w 640"/>
                  <a:gd name="T1" fmla="*/ 135 h 761"/>
                  <a:gd name="T2" fmla="*/ 500 w 640"/>
                  <a:gd name="T3" fmla="*/ 135 h 761"/>
                  <a:gd name="T4" fmla="*/ 500 w 640"/>
                  <a:gd name="T5" fmla="*/ 135 h 761"/>
                  <a:gd name="T6" fmla="*/ 500 w 640"/>
                  <a:gd name="T7" fmla="*/ 49 h 761"/>
                  <a:gd name="T8" fmla="*/ 587 w 640"/>
                  <a:gd name="T9" fmla="*/ 135 h 761"/>
                  <a:gd name="T10" fmla="*/ 640 w 640"/>
                  <a:gd name="T11" fmla="*/ 179 h 761"/>
                  <a:gd name="T12" fmla="*/ 640 w 640"/>
                  <a:gd name="T13" fmla="*/ 739 h 761"/>
                  <a:gd name="T14" fmla="*/ 618 w 640"/>
                  <a:gd name="T15" fmla="*/ 761 h 761"/>
                  <a:gd name="T16" fmla="*/ 22 w 640"/>
                  <a:gd name="T17" fmla="*/ 761 h 761"/>
                  <a:gd name="T18" fmla="*/ 0 w 640"/>
                  <a:gd name="T19" fmla="*/ 739 h 761"/>
                  <a:gd name="T20" fmla="*/ 0 w 640"/>
                  <a:gd name="T21" fmla="*/ 22 h 761"/>
                  <a:gd name="T22" fmla="*/ 22 w 640"/>
                  <a:gd name="T23" fmla="*/ 0 h 761"/>
                  <a:gd name="T24" fmla="*/ 456 w 640"/>
                  <a:gd name="T25" fmla="*/ 0 h 761"/>
                  <a:gd name="T26" fmla="*/ 456 w 640"/>
                  <a:gd name="T27" fmla="*/ 135 h 761"/>
                  <a:gd name="T28" fmla="*/ 469 w 640"/>
                  <a:gd name="T29" fmla="*/ 167 h 761"/>
                  <a:gd name="T30" fmla="*/ 500 w 640"/>
                  <a:gd name="T31" fmla="*/ 179 h 761"/>
                  <a:gd name="T32" fmla="*/ 640 w 640"/>
                  <a:gd name="T33" fmla="*/ 179 h 761"/>
                  <a:gd name="T34" fmla="*/ 342 w 640"/>
                  <a:gd name="T35" fmla="*/ 632 h 761"/>
                  <a:gd name="T36" fmla="*/ 320 w 640"/>
                  <a:gd name="T37" fmla="*/ 610 h 761"/>
                  <a:gd name="T38" fmla="*/ 126 w 640"/>
                  <a:gd name="T39" fmla="*/ 610 h 761"/>
                  <a:gd name="T40" fmla="*/ 104 w 640"/>
                  <a:gd name="T41" fmla="*/ 632 h 761"/>
                  <a:gd name="T42" fmla="*/ 126 w 640"/>
                  <a:gd name="T43" fmla="*/ 654 h 761"/>
                  <a:gd name="T44" fmla="*/ 320 w 640"/>
                  <a:gd name="T45" fmla="*/ 654 h 761"/>
                  <a:gd name="T46" fmla="*/ 342 w 640"/>
                  <a:gd name="T47" fmla="*/ 632 h 761"/>
                  <a:gd name="T48" fmla="*/ 552 w 640"/>
                  <a:gd name="T49" fmla="*/ 531 h 761"/>
                  <a:gd name="T50" fmla="*/ 530 w 640"/>
                  <a:gd name="T51" fmla="*/ 509 h 761"/>
                  <a:gd name="T52" fmla="*/ 126 w 640"/>
                  <a:gd name="T53" fmla="*/ 509 h 761"/>
                  <a:gd name="T54" fmla="*/ 104 w 640"/>
                  <a:gd name="T55" fmla="*/ 531 h 761"/>
                  <a:gd name="T56" fmla="*/ 126 w 640"/>
                  <a:gd name="T57" fmla="*/ 553 h 761"/>
                  <a:gd name="T58" fmla="*/ 530 w 640"/>
                  <a:gd name="T59" fmla="*/ 553 h 761"/>
                  <a:gd name="T60" fmla="*/ 552 w 640"/>
                  <a:gd name="T61" fmla="*/ 531 h 761"/>
                  <a:gd name="T62" fmla="*/ 552 w 640"/>
                  <a:gd name="T63" fmla="*/ 430 h 761"/>
                  <a:gd name="T64" fmla="*/ 530 w 640"/>
                  <a:gd name="T65" fmla="*/ 408 h 761"/>
                  <a:gd name="T66" fmla="*/ 126 w 640"/>
                  <a:gd name="T67" fmla="*/ 408 h 761"/>
                  <a:gd name="T68" fmla="*/ 104 w 640"/>
                  <a:gd name="T69" fmla="*/ 430 h 761"/>
                  <a:gd name="T70" fmla="*/ 126 w 640"/>
                  <a:gd name="T71" fmla="*/ 452 h 761"/>
                  <a:gd name="T72" fmla="*/ 530 w 640"/>
                  <a:gd name="T73" fmla="*/ 452 h 761"/>
                  <a:gd name="T74" fmla="*/ 552 w 640"/>
                  <a:gd name="T75" fmla="*/ 430 h 761"/>
                  <a:gd name="T76" fmla="*/ 552 w 640"/>
                  <a:gd name="T77" fmla="*/ 329 h 761"/>
                  <a:gd name="T78" fmla="*/ 530 w 640"/>
                  <a:gd name="T79" fmla="*/ 307 h 761"/>
                  <a:gd name="T80" fmla="*/ 126 w 640"/>
                  <a:gd name="T81" fmla="*/ 307 h 761"/>
                  <a:gd name="T82" fmla="*/ 104 w 640"/>
                  <a:gd name="T83" fmla="*/ 329 h 761"/>
                  <a:gd name="T84" fmla="*/ 126 w 640"/>
                  <a:gd name="T85" fmla="*/ 351 h 761"/>
                  <a:gd name="T86" fmla="*/ 530 w 640"/>
                  <a:gd name="T87" fmla="*/ 351 h 761"/>
                  <a:gd name="T88" fmla="*/ 552 w 640"/>
                  <a:gd name="T89" fmla="*/ 329 h 761"/>
                  <a:gd name="T90" fmla="*/ 552 w 640"/>
                  <a:gd name="T91" fmla="*/ 228 h 761"/>
                  <a:gd name="T92" fmla="*/ 530 w 640"/>
                  <a:gd name="T93" fmla="*/ 206 h 761"/>
                  <a:gd name="T94" fmla="*/ 126 w 640"/>
                  <a:gd name="T95" fmla="*/ 206 h 761"/>
                  <a:gd name="T96" fmla="*/ 104 w 640"/>
                  <a:gd name="T97" fmla="*/ 228 h 761"/>
                  <a:gd name="T98" fmla="*/ 126 w 640"/>
                  <a:gd name="T99" fmla="*/ 250 h 761"/>
                  <a:gd name="T100" fmla="*/ 530 w 640"/>
                  <a:gd name="T101" fmla="*/ 250 h 761"/>
                  <a:gd name="T102" fmla="*/ 552 w 640"/>
                  <a:gd name="T103" fmla="*/ 228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40" h="761">
                    <a:moveTo>
                      <a:pt x="587" y="135"/>
                    </a:moveTo>
                    <a:cubicBezTo>
                      <a:pt x="500" y="135"/>
                      <a:pt x="500" y="135"/>
                      <a:pt x="500" y="135"/>
                    </a:cubicBezTo>
                    <a:cubicBezTo>
                      <a:pt x="500" y="135"/>
                      <a:pt x="500" y="135"/>
                      <a:pt x="500" y="135"/>
                    </a:cubicBezTo>
                    <a:cubicBezTo>
                      <a:pt x="500" y="49"/>
                      <a:pt x="500" y="49"/>
                      <a:pt x="500" y="49"/>
                    </a:cubicBezTo>
                    <a:lnTo>
                      <a:pt x="587" y="135"/>
                    </a:lnTo>
                    <a:close/>
                    <a:moveTo>
                      <a:pt x="640" y="179"/>
                    </a:moveTo>
                    <a:cubicBezTo>
                      <a:pt x="640" y="739"/>
                      <a:pt x="640" y="739"/>
                      <a:pt x="640" y="739"/>
                    </a:cubicBezTo>
                    <a:cubicBezTo>
                      <a:pt x="640" y="751"/>
                      <a:pt x="630" y="761"/>
                      <a:pt x="618" y="761"/>
                    </a:cubicBezTo>
                    <a:cubicBezTo>
                      <a:pt x="22" y="761"/>
                      <a:pt x="22" y="761"/>
                      <a:pt x="22" y="761"/>
                    </a:cubicBezTo>
                    <a:cubicBezTo>
                      <a:pt x="10" y="761"/>
                      <a:pt x="0" y="751"/>
                      <a:pt x="0" y="739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456" y="0"/>
                      <a:pt x="456" y="0"/>
                      <a:pt x="456" y="0"/>
                    </a:cubicBezTo>
                    <a:cubicBezTo>
                      <a:pt x="456" y="135"/>
                      <a:pt x="456" y="135"/>
                      <a:pt x="456" y="135"/>
                    </a:cubicBezTo>
                    <a:cubicBezTo>
                      <a:pt x="456" y="148"/>
                      <a:pt x="461" y="159"/>
                      <a:pt x="469" y="167"/>
                    </a:cubicBezTo>
                    <a:cubicBezTo>
                      <a:pt x="477" y="174"/>
                      <a:pt x="488" y="179"/>
                      <a:pt x="500" y="179"/>
                    </a:cubicBezTo>
                    <a:lnTo>
                      <a:pt x="640" y="179"/>
                    </a:lnTo>
                    <a:close/>
                    <a:moveTo>
                      <a:pt x="342" y="632"/>
                    </a:moveTo>
                    <a:cubicBezTo>
                      <a:pt x="342" y="620"/>
                      <a:pt x="332" y="610"/>
                      <a:pt x="320" y="610"/>
                    </a:cubicBezTo>
                    <a:cubicBezTo>
                      <a:pt x="126" y="610"/>
                      <a:pt x="126" y="610"/>
                      <a:pt x="126" y="610"/>
                    </a:cubicBezTo>
                    <a:cubicBezTo>
                      <a:pt x="114" y="610"/>
                      <a:pt x="104" y="620"/>
                      <a:pt x="104" y="632"/>
                    </a:cubicBezTo>
                    <a:cubicBezTo>
                      <a:pt x="104" y="644"/>
                      <a:pt x="114" y="654"/>
                      <a:pt x="126" y="654"/>
                    </a:cubicBezTo>
                    <a:cubicBezTo>
                      <a:pt x="320" y="654"/>
                      <a:pt x="320" y="654"/>
                      <a:pt x="320" y="654"/>
                    </a:cubicBezTo>
                    <a:cubicBezTo>
                      <a:pt x="332" y="654"/>
                      <a:pt x="342" y="644"/>
                      <a:pt x="342" y="632"/>
                    </a:cubicBezTo>
                    <a:close/>
                    <a:moveTo>
                      <a:pt x="552" y="531"/>
                    </a:moveTo>
                    <a:cubicBezTo>
                      <a:pt x="552" y="519"/>
                      <a:pt x="542" y="509"/>
                      <a:pt x="530" y="509"/>
                    </a:cubicBezTo>
                    <a:cubicBezTo>
                      <a:pt x="126" y="509"/>
                      <a:pt x="126" y="509"/>
                      <a:pt x="126" y="509"/>
                    </a:cubicBezTo>
                    <a:cubicBezTo>
                      <a:pt x="114" y="509"/>
                      <a:pt x="104" y="519"/>
                      <a:pt x="104" y="531"/>
                    </a:cubicBezTo>
                    <a:cubicBezTo>
                      <a:pt x="104" y="543"/>
                      <a:pt x="114" y="553"/>
                      <a:pt x="126" y="553"/>
                    </a:cubicBezTo>
                    <a:cubicBezTo>
                      <a:pt x="530" y="553"/>
                      <a:pt x="530" y="553"/>
                      <a:pt x="530" y="553"/>
                    </a:cubicBezTo>
                    <a:cubicBezTo>
                      <a:pt x="542" y="553"/>
                      <a:pt x="552" y="543"/>
                      <a:pt x="552" y="531"/>
                    </a:cubicBezTo>
                    <a:close/>
                    <a:moveTo>
                      <a:pt x="552" y="430"/>
                    </a:moveTo>
                    <a:cubicBezTo>
                      <a:pt x="552" y="418"/>
                      <a:pt x="542" y="408"/>
                      <a:pt x="530" y="408"/>
                    </a:cubicBezTo>
                    <a:cubicBezTo>
                      <a:pt x="126" y="408"/>
                      <a:pt x="126" y="408"/>
                      <a:pt x="126" y="408"/>
                    </a:cubicBezTo>
                    <a:cubicBezTo>
                      <a:pt x="114" y="408"/>
                      <a:pt x="104" y="418"/>
                      <a:pt x="104" y="430"/>
                    </a:cubicBezTo>
                    <a:cubicBezTo>
                      <a:pt x="104" y="442"/>
                      <a:pt x="114" y="452"/>
                      <a:pt x="126" y="452"/>
                    </a:cubicBezTo>
                    <a:cubicBezTo>
                      <a:pt x="530" y="452"/>
                      <a:pt x="530" y="452"/>
                      <a:pt x="530" y="452"/>
                    </a:cubicBezTo>
                    <a:cubicBezTo>
                      <a:pt x="542" y="452"/>
                      <a:pt x="552" y="442"/>
                      <a:pt x="552" y="430"/>
                    </a:cubicBezTo>
                    <a:close/>
                    <a:moveTo>
                      <a:pt x="552" y="329"/>
                    </a:moveTo>
                    <a:cubicBezTo>
                      <a:pt x="552" y="317"/>
                      <a:pt x="542" y="307"/>
                      <a:pt x="530" y="307"/>
                    </a:cubicBezTo>
                    <a:cubicBezTo>
                      <a:pt x="126" y="307"/>
                      <a:pt x="126" y="307"/>
                      <a:pt x="126" y="307"/>
                    </a:cubicBezTo>
                    <a:cubicBezTo>
                      <a:pt x="114" y="307"/>
                      <a:pt x="104" y="317"/>
                      <a:pt x="104" y="329"/>
                    </a:cubicBezTo>
                    <a:cubicBezTo>
                      <a:pt x="104" y="341"/>
                      <a:pt x="114" y="351"/>
                      <a:pt x="126" y="351"/>
                    </a:cubicBezTo>
                    <a:cubicBezTo>
                      <a:pt x="530" y="351"/>
                      <a:pt x="530" y="351"/>
                      <a:pt x="530" y="351"/>
                    </a:cubicBezTo>
                    <a:cubicBezTo>
                      <a:pt x="542" y="351"/>
                      <a:pt x="552" y="341"/>
                      <a:pt x="552" y="329"/>
                    </a:cubicBezTo>
                    <a:close/>
                    <a:moveTo>
                      <a:pt x="552" y="228"/>
                    </a:moveTo>
                    <a:cubicBezTo>
                      <a:pt x="552" y="216"/>
                      <a:pt x="542" y="206"/>
                      <a:pt x="530" y="206"/>
                    </a:cubicBezTo>
                    <a:cubicBezTo>
                      <a:pt x="126" y="206"/>
                      <a:pt x="126" y="206"/>
                      <a:pt x="126" y="206"/>
                    </a:cubicBezTo>
                    <a:cubicBezTo>
                      <a:pt x="114" y="206"/>
                      <a:pt x="104" y="216"/>
                      <a:pt x="104" y="228"/>
                    </a:cubicBezTo>
                    <a:cubicBezTo>
                      <a:pt x="104" y="240"/>
                      <a:pt x="114" y="250"/>
                      <a:pt x="126" y="250"/>
                    </a:cubicBezTo>
                    <a:cubicBezTo>
                      <a:pt x="530" y="250"/>
                      <a:pt x="530" y="250"/>
                      <a:pt x="530" y="250"/>
                    </a:cubicBezTo>
                    <a:cubicBezTo>
                      <a:pt x="542" y="250"/>
                      <a:pt x="552" y="240"/>
                      <a:pt x="552" y="228"/>
                    </a:cubicBez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>
                  <a:solidFill>
                    <a:srgbClr val="686F6F"/>
                  </a:solidFill>
                </a:endParaRPr>
              </a:p>
            </p:txBody>
          </p:sp>
        </p:grpSp>
      </p:grpSp>
      <p:sp>
        <p:nvSpPr>
          <p:cNvPr id="146" name="TextBox 145"/>
          <p:cNvSpPr txBox="1"/>
          <p:nvPr/>
        </p:nvSpPr>
        <p:spPr>
          <a:xfrm>
            <a:off x="3166048" y="5471441"/>
            <a:ext cx="86722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+mj-lt"/>
              </a:rPr>
              <a:t>Пункт сбора</a:t>
            </a:r>
          </a:p>
        </p:txBody>
      </p:sp>
      <p:grpSp>
        <p:nvGrpSpPr>
          <p:cNvPr id="147" name="Group 146"/>
          <p:cNvGrpSpPr/>
          <p:nvPr/>
        </p:nvGrpSpPr>
        <p:grpSpPr>
          <a:xfrm>
            <a:off x="4448859" y="4433102"/>
            <a:ext cx="457200" cy="585449"/>
            <a:chOff x="2247900" y="4229100"/>
            <a:chExt cx="457200" cy="585449"/>
          </a:xfrm>
        </p:grpSpPr>
        <p:sp>
          <p:nvSpPr>
            <p:cNvPr id="148" name="TextBox 147"/>
            <p:cNvSpPr txBox="1"/>
            <p:nvPr/>
          </p:nvSpPr>
          <p:spPr>
            <a:xfrm>
              <a:off x="2354672" y="4660661"/>
              <a:ext cx="243656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ru-RU" sz="1000" b="1" dirty="0" err="1">
                  <a:solidFill>
                    <a:srgbClr val="686F6F"/>
                  </a:solidFill>
                  <a:latin typeface="+mj-lt"/>
                </a:rPr>
                <a:t>ЭВС</a:t>
              </a:r>
              <a:endParaRPr lang="ru-RU" sz="1000" b="1" dirty="0">
                <a:solidFill>
                  <a:srgbClr val="686F6F"/>
                </a:solidFill>
                <a:latin typeface="+mj-lt"/>
              </a:endParaRPr>
            </a:p>
          </p:txBody>
        </p:sp>
        <p:grpSp>
          <p:nvGrpSpPr>
            <p:cNvPr id="149" name="Group 148"/>
            <p:cNvGrpSpPr/>
            <p:nvPr/>
          </p:nvGrpSpPr>
          <p:grpSpPr>
            <a:xfrm>
              <a:off x="2247900" y="4229100"/>
              <a:ext cx="457200" cy="457200"/>
              <a:chOff x="5868000" y="3191828"/>
              <a:chExt cx="457200" cy="457200"/>
            </a:xfrm>
          </p:grpSpPr>
          <p:sp>
            <p:nvSpPr>
              <p:cNvPr id="15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868000" y="3191828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151" name="Freeform 5"/>
              <p:cNvSpPr>
                <a:spLocks noEditPoints="1"/>
              </p:cNvSpPr>
              <p:nvPr/>
            </p:nvSpPr>
            <p:spPr bwMode="auto">
              <a:xfrm>
                <a:off x="5950550" y="3245803"/>
                <a:ext cx="292100" cy="349250"/>
              </a:xfrm>
              <a:custGeom>
                <a:avLst/>
                <a:gdLst>
                  <a:gd name="T0" fmla="*/ 587 w 640"/>
                  <a:gd name="T1" fmla="*/ 135 h 761"/>
                  <a:gd name="T2" fmla="*/ 500 w 640"/>
                  <a:gd name="T3" fmla="*/ 135 h 761"/>
                  <a:gd name="T4" fmla="*/ 500 w 640"/>
                  <a:gd name="T5" fmla="*/ 135 h 761"/>
                  <a:gd name="T6" fmla="*/ 500 w 640"/>
                  <a:gd name="T7" fmla="*/ 49 h 761"/>
                  <a:gd name="T8" fmla="*/ 587 w 640"/>
                  <a:gd name="T9" fmla="*/ 135 h 761"/>
                  <a:gd name="T10" fmla="*/ 640 w 640"/>
                  <a:gd name="T11" fmla="*/ 179 h 761"/>
                  <a:gd name="T12" fmla="*/ 640 w 640"/>
                  <a:gd name="T13" fmla="*/ 739 h 761"/>
                  <a:gd name="T14" fmla="*/ 618 w 640"/>
                  <a:gd name="T15" fmla="*/ 761 h 761"/>
                  <a:gd name="T16" fmla="*/ 22 w 640"/>
                  <a:gd name="T17" fmla="*/ 761 h 761"/>
                  <a:gd name="T18" fmla="*/ 0 w 640"/>
                  <a:gd name="T19" fmla="*/ 739 h 761"/>
                  <a:gd name="T20" fmla="*/ 0 w 640"/>
                  <a:gd name="T21" fmla="*/ 22 h 761"/>
                  <a:gd name="T22" fmla="*/ 22 w 640"/>
                  <a:gd name="T23" fmla="*/ 0 h 761"/>
                  <a:gd name="T24" fmla="*/ 456 w 640"/>
                  <a:gd name="T25" fmla="*/ 0 h 761"/>
                  <a:gd name="T26" fmla="*/ 456 w 640"/>
                  <a:gd name="T27" fmla="*/ 135 h 761"/>
                  <a:gd name="T28" fmla="*/ 469 w 640"/>
                  <a:gd name="T29" fmla="*/ 167 h 761"/>
                  <a:gd name="T30" fmla="*/ 500 w 640"/>
                  <a:gd name="T31" fmla="*/ 179 h 761"/>
                  <a:gd name="T32" fmla="*/ 640 w 640"/>
                  <a:gd name="T33" fmla="*/ 179 h 761"/>
                  <a:gd name="T34" fmla="*/ 342 w 640"/>
                  <a:gd name="T35" fmla="*/ 632 h 761"/>
                  <a:gd name="T36" fmla="*/ 320 w 640"/>
                  <a:gd name="T37" fmla="*/ 610 h 761"/>
                  <a:gd name="T38" fmla="*/ 126 w 640"/>
                  <a:gd name="T39" fmla="*/ 610 h 761"/>
                  <a:gd name="T40" fmla="*/ 104 w 640"/>
                  <a:gd name="T41" fmla="*/ 632 h 761"/>
                  <a:gd name="T42" fmla="*/ 126 w 640"/>
                  <a:gd name="T43" fmla="*/ 654 h 761"/>
                  <a:gd name="T44" fmla="*/ 320 w 640"/>
                  <a:gd name="T45" fmla="*/ 654 h 761"/>
                  <a:gd name="T46" fmla="*/ 342 w 640"/>
                  <a:gd name="T47" fmla="*/ 632 h 761"/>
                  <a:gd name="T48" fmla="*/ 552 w 640"/>
                  <a:gd name="T49" fmla="*/ 531 h 761"/>
                  <a:gd name="T50" fmla="*/ 530 w 640"/>
                  <a:gd name="T51" fmla="*/ 509 h 761"/>
                  <a:gd name="T52" fmla="*/ 126 w 640"/>
                  <a:gd name="T53" fmla="*/ 509 h 761"/>
                  <a:gd name="T54" fmla="*/ 104 w 640"/>
                  <a:gd name="T55" fmla="*/ 531 h 761"/>
                  <a:gd name="T56" fmla="*/ 126 w 640"/>
                  <a:gd name="T57" fmla="*/ 553 h 761"/>
                  <a:gd name="T58" fmla="*/ 530 w 640"/>
                  <a:gd name="T59" fmla="*/ 553 h 761"/>
                  <a:gd name="T60" fmla="*/ 552 w 640"/>
                  <a:gd name="T61" fmla="*/ 531 h 761"/>
                  <a:gd name="T62" fmla="*/ 552 w 640"/>
                  <a:gd name="T63" fmla="*/ 430 h 761"/>
                  <a:gd name="T64" fmla="*/ 530 w 640"/>
                  <a:gd name="T65" fmla="*/ 408 h 761"/>
                  <a:gd name="T66" fmla="*/ 126 w 640"/>
                  <a:gd name="T67" fmla="*/ 408 h 761"/>
                  <a:gd name="T68" fmla="*/ 104 w 640"/>
                  <a:gd name="T69" fmla="*/ 430 h 761"/>
                  <a:gd name="T70" fmla="*/ 126 w 640"/>
                  <a:gd name="T71" fmla="*/ 452 h 761"/>
                  <a:gd name="T72" fmla="*/ 530 w 640"/>
                  <a:gd name="T73" fmla="*/ 452 h 761"/>
                  <a:gd name="T74" fmla="*/ 552 w 640"/>
                  <a:gd name="T75" fmla="*/ 430 h 761"/>
                  <a:gd name="T76" fmla="*/ 552 w 640"/>
                  <a:gd name="T77" fmla="*/ 329 h 761"/>
                  <a:gd name="T78" fmla="*/ 530 w 640"/>
                  <a:gd name="T79" fmla="*/ 307 h 761"/>
                  <a:gd name="T80" fmla="*/ 126 w 640"/>
                  <a:gd name="T81" fmla="*/ 307 h 761"/>
                  <a:gd name="T82" fmla="*/ 104 w 640"/>
                  <a:gd name="T83" fmla="*/ 329 h 761"/>
                  <a:gd name="T84" fmla="*/ 126 w 640"/>
                  <a:gd name="T85" fmla="*/ 351 h 761"/>
                  <a:gd name="T86" fmla="*/ 530 w 640"/>
                  <a:gd name="T87" fmla="*/ 351 h 761"/>
                  <a:gd name="T88" fmla="*/ 552 w 640"/>
                  <a:gd name="T89" fmla="*/ 329 h 761"/>
                  <a:gd name="T90" fmla="*/ 552 w 640"/>
                  <a:gd name="T91" fmla="*/ 228 h 761"/>
                  <a:gd name="T92" fmla="*/ 530 w 640"/>
                  <a:gd name="T93" fmla="*/ 206 h 761"/>
                  <a:gd name="T94" fmla="*/ 126 w 640"/>
                  <a:gd name="T95" fmla="*/ 206 h 761"/>
                  <a:gd name="T96" fmla="*/ 104 w 640"/>
                  <a:gd name="T97" fmla="*/ 228 h 761"/>
                  <a:gd name="T98" fmla="*/ 126 w 640"/>
                  <a:gd name="T99" fmla="*/ 250 h 761"/>
                  <a:gd name="T100" fmla="*/ 530 w 640"/>
                  <a:gd name="T101" fmla="*/ 250 h 761"/>
                  <a:gd name="T102" fmla="*/ 552 w 640"/>
                  <a:gd name="T103" fmla="*/ 228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40" h="761">
                    <a:moveTo>
                      <a:pt x="587" y="135"/>
                    </a:moveTo>
                    <a:cubicBezTo>
                      <a:pt x="500" y="135"/>
                      <a:pt x="500" y="135"/>
                      <a:pt x="500" y="135"/>
                    </a:cubicBezTo>
                    <a:cubicBezTo>
                      <a:pt x="500" y="135"/>
                      <a:pt x="500" y="135"/>
                      <a:pt x="500" y="135"/>
                    </a:cubicBezTo>
                    <a:cubicBezTo>
                      <a:pt x="500" y="49"/>
                      <a:pt x="500" y="49"/>
                      <a:pt x="500" y="49"/>
                    </a:cubicBezTo>
                    <a:lnTo>
                      <a:pt x="587" y="135"/>
                    </a:lnTo>
                    <a:close/>
                    <a:moveTo>
                      <a:pt x="640" y="179"/>
                    </a:moveTo>
                    <a:cubicBezTo>
                      <a:pt x="640" y="739"/>
                      <a:pt x="640" y="739"/>
                      <a:pt x="640" y="739"/>
                    </a:cubicBezTo>
                    <a:cubicBezTo>
                      <a:pt x="640" y="751"/>
                      <a:pt x="630" y="761"/>
                      <a:pt x="618" y="761"/>
                    </a:cubicBezTo>
                    <a:cubicBezTo>
                      <a:pt x="22" y="761"/>
                      <a:pt x="22" y="761"/>
                      <a:pt x="22" y="761"/>
                    </a:cubicBezTo>
                    <a:cubicBezTo>
                      <a:pt x="10" y="761"/>
                      <a:pt x="0" y="751"/>
                      <a:pt x="0" y="739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456" y="0"/>
                      <a:pt x="456" y="0"/>
                      <a:pt x="456" y="0"/>
                    </a:cubicBezTo>
                    <a:cubicBezTo>
                      <a:pt x="456" y="135"/>
                      <a:pt x="456" y="135"/>
                      <a:pt x="456" y="135"/>
                    </a:cubicBezTo>
                    <a:cubicBezTo>
                      <a:pt x="456" y="148"/>
                      <a:pt x="461" y="159"/>
                      <a:pt x="469" y="167"/>
                    </a:cubicBezTo>
                    <a:cubicBezTo>
                      <a:pt x="477" y="174"/>
                      <a:pt x="488" y="179"/>
                      <a:pt x="500" y="179"/>
                    </a:cubicBezTo>
                    <a:lnTo>
                      <a:pt x="640" y="179"/>
                    </a:lnTo>
                    <a:close/>
                    <a:moveTo>
                      <a:pt x="342" y="632"/>
                    </a:moveTo>
                    <a:cubicBezTo>
                      <a:pt x="342" y="620"/>
                      <a:pt x="332" y="610"/>
                      <a:pt x="320" y="610"/>
                    </a:cubicBezTo>
                    <a:cubicBezTo>
                      <a:pt x="126" y="610"/>
                      <a:pt x="126" y="610"/>
                      <a:pt x="126" y="610"/>
                    </a:cubicBezTo>
                    <a:cubicBezTo>
                      <a:pt x="114" y="610"/>
                      <a:pt x="104" y="620"/>
                      <a:pt x="104" y="632"/>
                    </a:cubicBezTo>
                    <a:cubicBezTo>
                      <a:pt x="104" y="644"/>
                      <a:pt x="114" y="654"/>
                      <a:pt x="126" y="654"/>
                    </a:cubicBezTo>
                    <a:cubicBezTo>
                      <a:pt x="320" y="654"/>
                      <a:pt x="320" y="654"/>
                      <a:pt x="320" y="654"/>
                    </a:cubicBezTo>
                    <a:cubicBezTo>
                      <a:pt x="332" y="654"/>
                      <a:pt x="342" y="644"/>
                      <a:pt x="342" y="632"/>
                    </a:cubicBezTo>
                    <a:close/>
                    <a:moveTo>
                      <a:pt x="552" y="531"/>
                    </a:moveTo>
                    <a:cubicBezTo>
                      <a:pt x="552" y="519"/>
                      <a:pt x="542" y="509"/>
                      <a:pt x="530" y="509"/>
                    </a:cubicBezTo>
                    <a:cubicBezTo>
                      <a:pt x="126" y="509"/>
                      <a:pt x="126" y="509"/>
                      <a:pt x="126" y="509"/>
                    </a:cubicBezTo>
                    <a:cubicBezTo>
                      <a:pt x="114" y="509"/>
                      <a:pt x="104" y="519"/>
                      <a:pt x="104" y="531"/>
                    </a:cubicBezTo>
                    <a:cubicBezTo>
                      <a:pt x="104" y="543"/>
                      <a:pt x="114" y="553"/>
                      <a:pt x="126" y="553"/>
                    </a:cubicBezTo>
                    <a:cubicBezTo>
                      <a:pt x="530" y="553"/>
                      <a:pt x="530" y="553"/>
                      <a:pt x="530" y="553"/>
                    </a:cubicBezTo>
                    <a:cubicBezTo>
                      <a:pt x="542" y="553"/>
                      <a:pt x="552" y="543"/>
                      <a:pt x="552" y="531"/>
                    </a:cubicBezTo>
                    <a:close/>
                    <a:moveTo>
                      <a:pt x="552" y="430"/>
                    </a:moveTo>
                    <a:cubicBezTo>
                      <a:pt x="552" y="418"/>
                      <a:pt x="542" y="408"/>
                      <a:pt x="530" y="408"/>
                    </a:cubicBezTo>
                    <a:cubicBezTo>
                      <a:pt x="126" y="408"/>
                      <a:pt x="126" y="408"/>
                      <a:pt x="126" y="408"/>
                    </a:cubicBezTo>
                    <a:cubicBezTo>
                      <a:pt x="114" y="408"/>
                      <a:pt x="104" y="418"/>
                      <a:pt x="104" y="430"/>
                    </a:cubicBezTo>
                    <a:cubicBezTo>
                      <a:pt x="104" y="442"/>
                      <a:pt x="114" y="452"/>
                      <a:pt x="126" y="452"/>
                    </a:cubicBezTo>
                    <a:cubicBezTo>
                      <a:pt x="530" y="452"/>
                      <a:pt x="530" y="452"/>
                      <a:pt x="530" y="452"/>
                    </a:cubicBezTo>
                    <a:cubicBezTo>
                      <a:pt x="542" y="452"/>
                      <a:pt x="552" y="442"/>
                      <a:pt x="552" y="430"/>
                    </a:cubicBezTo>
                    <a:close/>
                    <a:moveTo>
                      <a:pt x="552" y="329"/>
                    </a:moveTo>
                    <a:cubicBezTo>
                      <a:pt x="552" y="317"/>
                      <a:pt x="542" y="307"/>
                      <a:pt x="530" y="307"/>
                    </a:cubicBezTo>
                    <a:cubicBezTo>
                      <a:pt x="126" y="307"/>
                      <a:pt x="126" y="307"/>
                      <a:pt x="126" y="307"/>
                    </a:cubicBezTo>
                    <a:cubicBezTo>
                      <a:pt x="114" y="307"/>
                      <a:pt x="104" y="317"/>
                      <a:pt x="104" y="329"/>
                    </a:cubicBezTo>
                    <a:cubicBezTo>
                      <a:pt x="104" y="341"/>
                      <a:pt x="114" y="351"/>
                      <a:pt x="126" y="351"/>
                    </a:cubicBezTo>
                    <a:cubicBezTo>
                      <a:pt x="530" y="351"/>
                      <a:pt x="530" y="351"/>
                      <a:pt x="530" y="351"/>
                    </a:cubicBezTo>
                    <a:cubicBezTo>
                      <a:pt x="542" y="351"/>
                      <a:pt x="552" y="341"/>
                      <a:pt x="552" y="329"/>
                    </a:cubicBezTo>
                    <a:close/>
                    <a:moveTo>
                      <a:pt x="552" y="228"/>
                    </a:moveTo>
                    <a:cubicBezTo>
                      <a:pt x="552" y="216"/>
                      <a:pt x="542" y="206"/>
                      <a:pt x="530" y="206"/>
                    </a:cubicBezTo>
                    <a:cubicBezTo>
                      <a:pt x="126" y="206"/>
                      <a:pt x="126" y="206"/>
                      <a:pt x="126" y="206"/>
                    </a:cubicBezTo>
                    <a:cubicBezTo>
                      <a:pt x="114" y="206"/>
                      <a:pt x="104" y="216"/>
                      <a:pt x="104" y="228"/>
                    </a:cubicBezTo>
                    <a:cubicBezTo>
                      <a:pt x="104" y="240"/>
                      <a:pt x="114" y="250"/>
                      <a:pt x="126" y="250"/>
                    </a:cubicBezTo>
                    <a:cubicBezTo>
                      <a:pt x="530" y="250"/>
                      <a:pt x="530" y="250"/>
                      <a:pt x="530" y="250"/>
                    </a:cubicBezTo>
                    <a:cubicBezTo>
                      <a:pt x="542" y="250"/>
                      <a:pt x="552" y="240"/>
                      <a:pt x="552" y="228"/>
                    </a:cubicBez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>
                  <a:solidFill>
                    <a:srgbClr val="686F6F"/>
                  </a:solidFill>
                </a:endParaRPr>
              </a:p>
            </p:txBody>
          </p:sp>
        </p:grpSp>
      </p:grpSp>
      <p:grpSp>
        <p:nvGrpSpPr>
          <p:cNvPr id="152" name="Group 151"/>
          <p:cNvGrpSpPr/>
          <p:nvPr/>
        </p:nvGrpSpPr>
        <p:grpSpPr>
          <a:xfrm>
            <a:off x="7312075" y="4433102"/>
            <a:ext cx="457200" cy="585449"/>
            <a:chOff x="2247900" y="4229100"/>
            <a:chExt cx="457200" cy="585449"/>
          </a:xfrm>
        </p:grpSpPr>
        <p:sp>
          <p:nvSpPr>
            <p:cNvPr id="153" name="TextBox 152"/>
            <p:cNvSpPr txBox="1"/>
            <p:nvPr/>
          </p:nvSpPr>
          <p:spPr>
            <a:xfrm>
              <a:off x="2343451" y="4660661"/>
              <a:ext cx="26609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ru-RU" sz="1000" dirty="0" err="1">
                  <a:solidFill>
                    <a:srgbClr val="686F6F"/>
                  </a:solidFill>
                  <a:latin typeface="+mj-lt"/>
                </a:rPr>
                <a:t>УПД</a:t>
              </a:r>
              <a:endParaRPr lang="ru-RU" sz="1000" dirty="0">
                <a:solidFill>
                  <a:srgbClr val="686F6F"/>
                </a:solidFill>
                <a:latin typeface="+mj-lt"/>
              </a:endParaRPr>
            </a:p>
          </p:txBody>
        </p:sp>
        <p:grpSp>
          <p:nvGrpSpPr>
            <p:cNvPr id="154" name="Group 153"/>
            <p:cNvGrpSpPr/>
            <p:nvPr/>
          </p:nvGrpSpPr>
          <p:grpSpPr>
            <a:xfrm>
              <a:off x="2247900" y="4229100"/>
              <a:ext cx="457200" cy="457200"/>
              <a:chOff x="5868000" y="3191828"/>
              <a:chExt cx="457200" cy="457200"/>
            </a:xfrm>
          </p:grpSpPr>
          <p:sp>
            <p:nvSpPr>
              <p:cNvPr id="15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868000" y="3191828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156" name="Freeform 5"/>
              <p:cNvSpPr>
                <a:spLocks noEditPoints="1"/>
              </p:cNvSpPr>
              <p:nvPr/>
            </p:nvSpPr>
            <p:spPr bwMode="auto">
              <a:xfrm>
                <a:off x="5950550" y="3245803"/>
                <a:ext cx="292100" cy="349250"/>
              </a:xfrm>
              <a:custGeom>
                <a:avLst/>
                <a:gdLst>
                  <a:gd name="T0" fmla="*/ 587 w 640"/>
                  <a:gd name="T1" fmla="*/ 135 h 761"/>
                  <a:gd name="T2" fmla="*/ 500 w 640"/>
                  <a:gd name="T3" fmla="*/ 135 h 761"/>
                  <a:gd name="T4" fmla="*/ 500 w 640"/>
                  <a:gd name="T5" fmla="*/ 135 h 761"/>
                  <a:gd name="T6" fmla="*/ 500 w 640"/>
                  <a:gd name="T7" fmla="*/ 49 h 761"/>
                  <a:gd name="T8" fmla="*/ 587 w 640"/>
                  <a:gd name="T9" fmla="*/ 135 h 761"/>
                  <a:gd name="T10" fmla="*/ 640 w 640"/>
                  <a:gd name="T11" fmla="*/ 179 h 761"/>
                  <a:gd name="T12" fmla="*/ 640 w 640"/>
                  <a:gd name="T13" fmla="*/ 739 h 761"/>
                  <a:gd name="T14" fmla="*/ 618 w 640"/>
                  <a:gd name="T15" fmla="*/ 761 h 761"/>
                  <a:gd name="T16" fmla="*/ 22 w 640"/>
                  <a:gd name="T17" fmla="*/ 761 h 761"/>
                  <a:gd name="T18" fmla="*/ 0 w 640"/>
                  <a:gd name="T19" fmla="*/ 739 h 761"/>
                  <a:gd name="T20" fmla="*/ 0 w 640"/>
                  <a:gd name="T21" fmla="*/ 22 h 761"/>
                  <a:gd name="T22" fmla="*/ 22 w 640"/>
                  <a:gd name="T23" fmla="*/ 0 h 761"/>
                  <a:gd name="T24" fmla="*/ 456 w 640"/>
                  <a:gd name="T25" fmla="*/ 0 h 761"/>
                  <a:gd name="T26" fmla="*/ 456 w 640"/>
                  <a:gd name="T27" fmla="*/ 135 h 761"/>
                  <a:gd name="T28" fmla="*/ 469 w 640"/>
                  <a:gd name="T29" fmla="*/ 167 h 761"/>
                  <a:gd name="T30" fmla="*/ 500 w 640"/>
                  <a:gd name="T31" fmla="*/ 179 h 761"/>
                  <a:gd name="T32" fmla="*/ 640 w 640"/>
                  <a:gd name="T33" fmla="*/ 179 h 761"/>
                  <a:gd name="T34" fmla="*/ 342 w 640"/>
                  <a:gd name="T35" fmla="*/ 632 h 761"/>
                  <a:gd name="T36" fmla="*/ 320 w 640"/>
                  <a:gd name="T37" fmla="*/ 610 h 761"/>
                  <a:gd name="T38" fmla="*/ 126 w 640"/>
                  <a:gd name="T39" fmla="*/ 610 h 761"/>
                  <a:gd name="T40" fmla="*/ 104 w 640"/>
                  <a:gd name="T41" fmla="*/ 632 h 761"/>
                  <a:gd name="T42" fmla="*/ 126 w 640"/>
                  <a:gd name="T43" fmla="*/ 654 h 761"/>
                  <a:gd name="T44" fmla="*/ 320 w 640"/>
                  <a:gd name="T45" fmla="*/ 654 h 761"/>
                  <a:gd name="T46" fmla="*/ 342 w 640"/>
                  <a:gd name="T47" fmla="*/ 632 h 761"/>
                  <a:gd name="T48" fmla="*/ 552 w 640"/>
                  <a:gd name="T49" fmla="*/ 531 h 761"/>
                  <a:gd name="T50" fmla="*/ 530 w 640"/>
                  <a:gd name="T51" fmla="*/ 509 h 761"/>
                  <a:gd name="T52" fmla="*/ 126 w 640"/>
                  <a:gd name="T53" fmla="*/ 509 h 761"/>
                  <a:gd name="T54" fmla="*/ 104 w 640"/>
                  <a:gd name="T55" fmla="*/ 531 h 761"/>
                  <a:gd name="T56" fmla="*/ 126 w 640"/>
                  <a:gd name="T57" fmla="*/ 553 h 761"/>
                  <a:gd name="T58" fmla="*/ 530 w 640"/>
                  <a:gd name="T59" fmla="*/ 553 h 761"/>
                  <a:gd name="T60" fmla="*/ 552 w 640"/>
                  <a:gd name="T61" fmla="*/ 531 h 761"/>
                  <a:gd name="T62" fmla="*/ 552 w 640"/>
                  <a:gd name="T63" fmla="*/ 430 h 761"/>
                  <a:gd name="T64" fmla="*/ 530 w 640"/>
                  <a:gd name="T65" fmla="*/ 408 h 761"/>
                  <a:gd name="T66" fmla="*/ 126 w 640"/>
                  <a:gd name="T67" fmla="*/ 408 h 761"/>
                  <a:gd name="T68" fmla="*/ 104 w 640"/>
                  <a:gd name="T69" fmla="*/ 430 h 761"/>
                  <a:gd name="T70" fmla="*/ 126 w 640"/>
                  <a:gd name="T71" fmla="*/ 452 h 761"/>
                  <a:gd name="T72" fmla="*/ 530 w 640"/>
                  <a:gd name="T73" fmla="*/ 452 h 761"/>
                  <a:gd name="T74" fmla="*/ 552 w 640"/>
                  <a:gd name="T75" fmla="*/ 430 h 761"/>
                  <a:gd name="T76" fmla="*/ 552 w 640"/>
                  <a:gd name="T77" fmla="*/ 329 h 761"/>
                  <a:gd name="T78" fmla="*/ 530 w 640"/>
                  <a:gd name="T79" fmla="*/ 307 h 761"/>
                  <a:gd name="T80" fmla="*/ 126 w 640"/>
                  <a:gd name="T81" fmla="*/ 307 h 761"/>
                  <a:gd name="T82" fmla="*/ 104 w 640"/>
                  <a:gd name="T83" fmla="*/ 329 h 761"/>
                  <a:gd name="T84" fmla="*/ 126 w 640"/>
                  <a:gd name="T85" fmla="*/ 351 h 761"/>
                  <a:gd name="T86" fmla="*/ 530 w 640"/>
                  <a:gd name="T87" fmla="*/ 351 h 761"/>
                  <a:gd name="T88" fmla="*/ 552 w 640"/>
                  <a:gd name="T89" fmla="*/ 329 h 761"/>
                  <a:gd name="T90" fmla="*/ 552 w 640"/>
                  <a:gd name="T91" fmla="*/ 228 h 761"/>
                  <a:gd name="T92" fmla="*/ 530 w 640"/>
                  <a:gd name="T93" fmla="*/ 206 h 761"/>
                  <a:gd name="T94" fmla="*/ 126 w 640"/>
                  <a:gd name="T95" fmla="*/ 206 h 761"/>
                  <a:gd name="T96" fmla="*/ 104 w 640"/>
                  <a:gd name="T97" fmla="*/ 228 h 761"/>
                  <a:gd name="T98" fmla="*/ 126 w 640"/>
                  <a:gd name="T99" fmla="*/ 250 h 761"/>
                  <a:gd name="T100" fmla="*/ 530 w 640"/>
                  <a:gd name="T101" fmla="*/ 250 h 761"/>
                  <a:gd name="T102" fmla="*/ 552 w 640"/>
                  <a:gd name="T103" fmla="*/ 228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40" h="761">
                    <a:moveTo>
                      <a:pt x="587" y="135"/>
                    </a:moveTo>
                    <a:cubicBezTo>
                      <a:pt x="500" y="135"/>
                      <a:pt x="500" y="135"/>
                      <a:pt x="500" y="135"/>
                    </a:cubicBezTo>
                    <a:cubicBezTo>
                      <a:pt x="500" y="135"/>
                      <a:pt x="500" y="135"/>
                      <a:pt x="500" y="135"/>
                    </a:cubicBezTo>
                    <a:cubicBezTo>
                      <a:pt x="500" y="49"/>
                      <a:pt x="500" y="49"/>
                      <a:pt x="500" y="49"/>
                    </a:cubicBezTo>
                    <a:lnTo>
                      <a:pt x="587" y="135"/>
                    </a:lnTo>
                    <a:close/>
                    <a:moveTo>
                      <a:pt x="640" y="179"/>
                    </a:moveTo>
                    <a:cubicBezTo>
                      <a:pt x="640" y="739"/>
                      <a:pt x="640" y="739"/>
                      <a:pt x="640" y="739"/>
                    </a:cubicBezTo>
                    <a:cubicBezTo>
                      <a:pt x="640" y="751"/>
                      <a:pt x="630" y="761"/>
                      <a:pt x="618" y="761"/>
                    </a:cubicBezTo>
                    <a:cubicBezTo>
                      <a:pt x="22" y="761"/>
                      <a:pt x="22" y="761"/>
                      <a:pt x="22" y="761"/>
                    </a:cubicBezTo>
                    <a:cubicBezTo>
                      <a:pt x="10" y="761"/>
                      <a:pt x="0" y="751"/>
                      <a:pt x="0" y="739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456" y="0"/>
                      <a:pt x="456" y="0"/>
                      <a:pt x="456" y="0"/>
                    </a:cubicBezTo>
                    <a:cubicBezTo>
                      <a:pt x="456" y="135"/>
                      <a:pt x="456" y="135"/>
                      <a:pt x="456" y="135"/>
                    </a:cubicBezTo>
                    <a:cubicBezTo>
                      <a:pt x="456" y="148"/>
                      <a:pt x="461" y="159"/>
                      <a:pt x="469" y="167"/>
                    </a:cubicBezTo>
                    <a:cubicBezTo>
                      <a:pt x="477" y="174"/>
                      <a:pt x="488" y="179"/>
                      <a:pt x="500" y="179"/>
                    </a:cubicBezTo>
                    <a:lnTo>
                      <a:pt x="640" y="179"/>
                    </a:lnTo>
                    <a:close/>
                    <a:moveTo>
                      <a:pt x="342" y="632"/>
                    </a:moveTo>
                    <a:cubicBezTo>
                      <a:pt x="342" y="620"/>
                      <a:pt x="332" y="610"/>
                      <a:pt x="320" y="610"/>
                    </a:cubicBezTo>
                    <a:cubicBezTo>
                      <a:pt x="126" y="610"/>
                      <a:pt x="126" y="610"/>
                      <a:pt x="126" y="610"/>
                    </a:cubicBezTo>
                    <a:cubicBezTo>
                      <a:pt x="114" y="610"/>
                      <a:pt x="104" y="620"/>
                      <a:pt x="104" y="632"/>
                    </a:cubicBezTo>
                    <a:cubicBezTo>
                      <a:pt x="104" y="644"/>
                      <a:pt x="114" y="654"/>
                      <a:pt x="126" y="654"/>
                    </a:cubicBezTo>
                    <a:cubicBezTo>
                      <a:pt x="320" y="654"/>
                      <a:pt x="320" y="654"/>
                      <a:pt x="320" y="654"/>
                    </a:cubicBezTo>
                    <a:cubicBezTo>
                      <a:pt x="332" y="654"/>
                      <a:pt x="342" y="644"/>
                      <a:pt x="342" y="632"/>
                    </a:cubicBezTo>
                    <a:close/>
                    <a:moveTo>
                      <a:pt x="552" y="531"/>
                    </a:moveTo>
                    <a:cubicBezTo>
                      <a:pt x="552" y="519"/>
                      <a:pt x="542" y="509"/>
                      <a:pt x="530" y="509"/>
                    </a:cubicBezTo>
                    <a:cubicBezTo>
                      <a:pt x="126" y="509"/>
                      <a:pt x="126" y="509"/>
                      <a:pt x="126" y="509"/>
                    </a:cubicBezTo>
                    <a:cubicBezTo>
                      <a:pt x="114" y="509"/>
                      <a:pt x="104" y="519"/>
                      <a:pt x="104" y="531"/>
                    </a:cubicBezTo>
                    <a:cubicBezTo>
                      <a:pt x="104" y="543"/>
                      <a:pt x="114" y="553"/>
                      <a:pt x="126" y="553"/>
                    </a:cubicBezTo>
                    <a:cubicBezTo>
                      <a:pt x="530" y="553"/>
                      <a:pt x="530" y="553"/>
                      <a:pt x="530" y="553"/>
                    </a:cubicBezTo>
                    <a:cubicBezTo>
                      <a:pt x="542" y="553"/>
                      <a:pt x="552" y="543"/>
                      <a:pt x="552" y="531"/>
                    </a:cubicBezTo>
                    <a:close/>
                    <a:moveTo>
                      <a:pt x="552" y="430"/>
                    </a:moveTo>
                    <a:cubicBezTo>
                      <a:pt x="552" y="418"/>
                      <a:pt x="542" y="408"/>
                      <a:pt x="530" y="408"/>
                    </a:cubicBezTo>
                    <a:cubicBezTo>
                      <a:pt x="126" y="408"/>
                      <a:pt x="126" y="408"/>
                      <a:pt x="126" y="408"/>
                    </a:cubicBezTo>
                    <a:cubicBezTo>
                      <a:pt x="114" y="408"/>
                      <a:pt x="104" y="418"/>
                      <a:pt x="104" y="430"/>
                    </a:cubicBezTo>
                    <a:cubicBezTo>
                      <a:pt x="104" y="442"/>
                      <a:pt x="114" y="452"/>
                      <a:pt x="126" y="452"/>
                    </a:cubicBezTo>
                    <a:cubicBezTo>
                      <a:pt x="530" y="452"/>
                      <a:pt x="530" y="452"/>
                      <a:pt x="530" y="452"/>
                    </a:cubicBezTo>
                    <a:cubicBezTo>
                      <a:pt x="542" y="452"/>
                      <a:pt x="552" y="442"/>
                      <a:pt x="552" y="430"/>
                    </a:cubicBezTo>
                    <a:close/>
                    <a:moveTo>
                      <a:pt x="552" y="329"/>
                    </a:moveTo>
                    <a:cubicBezTo>
                      <a:pt x="552" y="317"/>
                      <a:pt x="542" y="307"/>
                      <a:pt x="530" y="307"/>
                    </a:cubicBezTo>
                    <a:cubicBezTo>
                      <a:pt x="126" y="307"/>
                      <a:pt x="126" y="307"/>
                      <a:pt x="126" y="307"/>
                    </a:cubicBezTo>
                    <a:cubicBezTo>
                      <a:pt x="114" y="307"/>
                      <a:pt x="104" y="317"/>
                      <a:pt x="104" y="329"/>
                    </a:cubicBezTo>
                    <a:cubicBezTo>
                      <a:pt x="104" y="341"/>
                      <a:pt x="114" y="351"/>
                      <a:pt x="126" y="351"/>
                    </a:cubicBezTo>
                    <a:cubicBezTo>
                      <a:pt x="530" y="351"/>
                      <a:pt x="530" y="351"/>
                      <a:pt x="530" y="351"/>
                    </a:cubicBezTo>
                    <a:cubicBezTo>
                      <a:pt x="542" y="351"/>
                      <a:pt x="552" y="341"/>
                      <a:pt x="552" y="329"/>
                    </a:cubicBezTo>
                    <a:close/>
                    <a:moveTo>
                      <a:pt x="552" y="228"/>
                    </a:moveTo>
                    <a:cubicBezTo>
                      <a:pt x="552" y="216"/>
                      <a:pt x="542" y="206"/>
                      <a:pt x="530" y="206"/>
                    </a:cubicBezTo>
                    <a:cubicBezTo>
                      <a:pt x="126" y="206"/>
                      <a:pt x="126" y="206"/>
                      <a:pt x="126" y="206"/>
                    </a:cubicBezTo>
                    <a:cubicBezTo>
                      <a:pt x="114" y="206"/>
                      <a:pt x="104" y="216"/>
                      <a:pt x="104" y="228"/>
                    </a:cubicBezTo>
                    <a:cubicBezTo>
                      <a:pt x="104" y="240"/>
                      <a:pt x="114" y="250"/>
                      <a:pt x="126" y="250"/>
                    </a:cubicBezTo>
                    <a:cubicBezTo>
                      <a:pt x="530" y="250"/>
                      <a:pt x="530" y="250"/>
                      <a:pt x="530" y="250"/>
                    </a:cubicBezTo>
                    <a:cubicBezTo>
                      <a:pt x="542" y="250"/>
                      <a:pt x="552" y="240"/>
                      <a:pt x="552" y="228"/>
                    </a:cubicBez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>
                  <a:solidFill>
                    <a:srgbClr val="686F6F"/>
                  </a:solidFill>
                </a:endParaRPr>
              </a:p>
            </p:txBody>
          </p:sp>
        </p:grpSp>
      </p:grpSp>
      <p:grpSp>
        <p:nvGrpSpPr>
          <p:cNvPr id="157" name="Group 156"/>
          <p:cNvGrpSpPr/>
          <p:nvPr/>
        </p:nvGrpSpPr>
        <p:grpSpPr>
          <a:xfrm>
            <a:off x="9384487" y="4433102"/>
            <a:ext cx="457200" cy="585449"/>
            <a:chOff x="2247900" y="4229100"/>
            <a:chExt cx="457200" cy="585449"/>
          </a:xfrm>
        </p:grpSpPr>
        <p:sp>
          <p:nvSpPr>
            <p:cNvPr id="158" name="TextBox 157"/>
            <p:cNvSpPr txBox="1"/>
            <p:nvPr/>
          </p:nvSpPr>
          <p:spPr>
            <a:xfrm>
              <a:off x="2343451" y="4660661"/>
              <a:ext cx="26609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ru-RU" sz="1000" dirty="0" err="1">
                  <a:solidFill>
                    <a:srgbClr val="686F6F"/>
                  </a:solidFill>
                  <a:latin typeface="+mj-lt"/>
                </a:rPr>
                <a:t>УПД</a:t>
              </a:r>
              <a:endParaRPr lang="ru-RU" sz="1000" dirty="0">
                <a:solidFill>
                  <a:srgbClr val="686F6F"/>
                </a:solidFill>
                <a:latin typeface="+mj-lt"/>
              </a:endParaRPr>
            </a:p>
          </p:txBody>
        </p:sp>
        <p:grpSp>
          <p:nvGrpSpPr>
            <p:cNvPr id="159" name="Group 158"/>
            <p:cNvGrpSpPr/>
            <p:nvPr/>
          </p:nvGrpSpPr>
          <p:grpSpPr>
            <a:xfrm>
              <a:off x="2247900" y="4229100"/>
              <a:ext cx="457200" cy="457200"/>
              <a:chOff x="5868000" y="3191828"/>
              <a:chExt cx="457200" cy="457200"/>
            </a:xfrm>
          </p:grpSpPr>
          <p:sp>
            <p:nvSpPr>
              <p:cNvPr id="16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868000" y="3191828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>
                  <a:solidFill>
                    <a:srgbClr val="686F6F"/>
                  </a:solidFill>
                </a:endParaRPr>
              </a:p>
            </p:txBody>
          </p:sp>
          <p:sp>
            <p:nvSpPr>
              <p:cNvPr id="161" name="Freeform 5"/>
              <p:cNvSpPr>
                <a:spLocks noEditPoints="1"/>
              </p:cNvSpPr>
              <p:nvPr/>
            </p:nvSpPr>
            <p:spPr bwMode="auto">
              <a:xfrm>
                <a:off x="5950550" y="3245803"/>
                <a:ext cx="292100" cy="349250"/>
              </a:xfrm>
              <a:custGeom>
                <a:avLst/>
                <a:gdLst>
                  <a:gd name="T0" fmla="*/ 587 w 640"/>
                  <a:gd name="T1" fmla="*/ 135 h 761"/>
                  <a:gd name="T2" fmla="*/ 500 w 640"/>
                  <a:gd name="T3" fmla="*/ 135 h 761"/>
                  <a:gd name="T4" fmla="*/ 500 w 640"/>
                  <a:gd name="T5" fmla="*/ 135 h 761"/>
                  <a:gd name="T6" fmla="*/ 500 w 640"/>
                  <a:gd name="T7" fmla="*/ 49 h 761"/>
                  <a:gd name="T8" fmla="*/ 587 w 640"/>
                  <a:gd name="T9" fmla="*/ 135 h 761"/>
                  <a:gd name="T10" fmla="*/ 640 w 640"/>
                  <a:gd name="T11" fmla="*/ 179 h 761"/>
                  <a:gd name="T12" fmla="*/ 640 w 640"/>
                  <a:gd name="T13" fmla="*/ 739 h 761"/>
                  <a:gd name="T14" fmla="*/ 618 w 640"/>
                  <a:gd name="T15" fmla="*/ 761 h 761"/>
                  <a:gd name="T16" fmla="*/ 22 w 640"/>
                  <a:gd name="T17" fmla="*/ 761 h 761"/>
                  <a:gd name="T18" fmla="*/ 0 w 640"/>
                  <a:gd name="T19" fmla="*/ 739 h 761"/>
                  <a:gd name="T20" fmla="*/ 0 w 640"/>
                  <a:gd name="T21" fmla="*/ 22 h 761"/>
                  <a:gd name="T22" fmla="*/ 22 w 640"/>
                  <a:gd name="T23" fmla="*/ 0 h 761"/>
                  <a:gd name="T24" fmla="*/ 456 w 640"/>
                  <a:gd name="T25" fmla="*/ 0 h 761"/>
                  <a:gd name="T26" fmla="*/ 456 w 640"/>
                  <a:gd name="T27" fmla="*/ 135 h 761"/>
                  <a:gd name="T28" fmla="*/ 469 w 640"/>
                  <a:gd name="T29" fmla="*/ 167 h 761"/>
                  <a:gd name="T30" fmla="*/ 500 w 640"/>
                  <a:gd name="T31" fmla="*/ 179 h 761"/>
                  <a:gd name="T32" fmla="*/ 640 w 640"/>
                  <a:gd name="T33" fmla="*/ 179 h 761"/>
                  <a:gd name="T34" fmla="*/ 342 w 640"/>
                  <a:gd name="T35" fmla="*/ 632 h 761"/>
                  <a:gd name="T36" fmla="*/ 320 w 640"/>
                  <a:gd name="T37" fmla="*/ 610 h 761"/>
                  <a:gd name="T38" fmla="*/ 126 w 640"/>
                  <a:gd name="T39" fmla="*/ 610 h 761"/>
                  <a:gd name="T40" fmla="*/ 104 w 640"/>
                  <a:gd name="T41" fmla="*/ 632 h 761"/>
                  <a:gd name="T42" fmla="*/ 126 w 640"/>
                  <a:gd name="T43" fmla="*/ 654 h 761"/>
                  <a:gd name="T44" fmla="*/ 320 w 640"/>
                  <a:gd name="T45" fmla="*/ 654 h 761"/>
                  <a:gd name="T46" fmla="*/ 342 w 640"/>
                  <a:gd name="T47" fmla="*/ 632 h 761"/>
                  <a:gd name="T48" fmla="*/ 552 w 640"/>
                  <a:gd name="T49" fmla="*/ 531 h 761"/>
                  <a:gd name="T50" fmla="*/ 530 w 640"/>
                  <a:gd name="T51" fmla="*/ 509 h 761"/>
                  <a:gd name="T52" fmla="*/ 126 w 640"/>
                  <a:gd name="T53" fmla="*/ 509 h 761"/>
                  <a:gd name="T54" fmla="*/ 104 w 640"/>
                  <a:gd name="T55" fmla="*/ 531 h 761"/>
                  <a:gd name="T56" fmla="*/ 126 w 640"/>
                  <a:gd name="T57" fmla="*/ 553 h 761"/>
                  <a:gd name="T58" fmla="*/ 530 w 640"/>
                  <a:gd name="T59" fmla="*/ 553 h 761"/>
                  <a:gd name="T60" fmla="*/ 552 w 640"/>
                  <a:gd name="T61" fmla="*/ 531 h 761"/>
                  <a:gd name="T62" fmla="*/ 552 w 640"/>
                  <a:gd name="T63" fmla="*/ 430 h 761"/>
                  <a:gd name="T64" fmla="*/ 530 w 640"/>
                  <a:gd name="T65" fmla="*/ 408 h 761"/>
                  <a:gd name="T66" fmla="*/ 126 w 640"/>
                  <a:gd name="T67" fmla="*/ 408 h 761"/>
                  <a:gd name="T68" fmla="*/ 104 w 640"/>
                  <a:gd name="T69" fmla="*/ 430 h 761"/>
                  <a:gd name="T70" fmla="*/ 126 w 640"/>
                  <a:gd name="T71" fmla="*/ 452 h 761"/>
                  <a:gd name="T72" fmla="*/ 530 w 640"/>
                  <a:gd name="T73" fmla="*/ 452 h 761"/>
                  <a:gd name="T74" fmla="*/ 552 w 640"/>
                  <a:gd name="T75" fmla="*/ 430 h 761"/>
                  <a:gd name="T76" fmla="*/ 552 w 640"/>
                  <a:gd name="T77" fmla="*/ 329 h 761"/>
                  <a:gd name="T78" fmla="*/ 530 w 640"/>
                  <a:gd name="T79" fmla="*/ 307 h 761"/>
                  <a:gd name="T80" fmla="*/ 126 w 640"/>
                  <a:gd name="T81" fmla="*/ 307 h 761"/>
                  <a:gd name="T82" fmla="*/ 104 w 640"/>
                  <a:gd name="T83" fmla="*/ 329 h 761"/>
                  <a:gd name="T84" fmla="*/ 126 w 640"/>
                  <a:gd name="T85" fmla="*/ 351 h 761"/>
                  <a:gd name="T86" fmla="*/ 530 w 640"/>
                  <a:gd name="T87" fmla="*/ 351 h 761"/>
                  <a:gd name="T88" fmla="*/ 552 w 640"/>
                  <a:gd name="T89" fmla="*/ 329 h 761"/>
                  <a:gd name="T90" fmla="*/ 552 w 640"/>
                  <a:gd name="T91" fmla="*/ 228 h 761"/>
                  <a:gd name="T92" fmla="*/ 530 w 640"/>
                  <a:gd name="T93" fmla="*/ 206 h 761"/>
                  <a:gd name="T94" fmla="*/ 126 w 640"/>
                  <a:gd name="T95" fmla="*/ 206 h 761"/>
                  <a:gd name="T96" fmla="*/ 104 w 640"/>
                  <a:gd name="T97" fmla="*/ 228 h 761"/>
                  <a:gd name="T98" fmla="*/ 126 w 640"/>
                  <a:gd name="T99" fmla="*/ 250 h 761"/>
                  <a:gd name="T100" fmla="*/ 530 w 640"/>
                  <a:gd name="T101" fmla="*/ 250 h 761"/>
                  <a:gd name="T102" fmla="*/ 552 w 640"/>
                  <a:gd name="T103" fmla="*/ 228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40" h="761">
                    <a:moveTo>
                      <a:pt x="587" y="135"/>
                    </a:moveTo>
                    <a:cubicBezTo>
                      <a:pt x="500" y="135"/>
                      <a:pt x="500" y="135"/>
                      <a:pt x="500" y="135"/>
                    </a:cubicBezTo>
                    <a:cubicBezTo>
                      <a:pt x="500" y="135"/>
                      <a:pt x="500" y="135"/>
                      <a:pt x="500" y="135"/>
                    </a:cubicBezTo>
                    <a:cubicBezTo>
                      <a:pt x="500" y="49"/>
                      <a:pt x="500" y="49"/>
                      <a:pt x="500" y="49"/>
                    </a:cubicBezTo>
                    <a:lnTo>
                      <a:pt x="587" y="135"/>
                    </a:lnTo>
                    <a:close/>
                    <a:moveTo>
                      <a:pt x="640" y="179"/>
                    </a:moveTo>
                    <a:cubicBezTo>
                      <a:pt x="640" y="739"/>
                      <a:pt x="640" y="739"/>
                      <a:pt x="640" y="739"/>
                    </a:cubicBezTo>
                    <a:cubicBezTo>
                      <a:pt x="640" y="751"/>
                      <a:pt x="630" y="761"/>
                      <a:pt x="618" y="761"/>
                    </a:cubicBezTo>
                    <a:cubicBezTo>
                      <a:pt x="22" y="761"/>
                      <a:pt x="22" y="761"/>
                      <a:pt x="22" y="761"/>
                    </a:cubicBezTo>
                    <a:cubicBezTo>
                      <a:pt x="10" y="761"/>
                      <a:pt x="0" y="751"/>
                      <a:pt x="0" y="739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456" y="0"/>
                      <a:pt x="456" y="0"/>
                      <a:pt x="456" y="0"/>
                    </a:cubicBezTo>
                    <a:cubicBezTo>
                      <a:pt x="456" y="135"/>
                      <a:pt x="456" y="135"/>
                      <a:pt x="456" y="135"/>
                    </a:cubicBezTo>
                    <a:cubicBezTo>
                      <a:pt x="456" y="148"/>
                      <a:pt x="461" y="159"/>
                      <a:pt x="469" y="167"/>
                    </a:cubicBezTo>
                    <a:cubicBezTo>
                      <a:pt x="477" y="174"/>
                      <a:pt x="488" y="179"/>
                      <a:pt x="500" y="179"/>
                    </a:cubicBezTo>
                    <a:lnTo>
                      <a:pt x="640" y="179"/>
                    </a:lnTo>
                    <a:close/>
                    <a:moveTo>
                      <a:pt x="342" y="632"/>
                    </a:moveTo>
                    <a:cubicBezTo>
                      <a:pt x="342" y="620"/>
                      <a:pt x="332" y="610"/>
                      <a:pt x="320" y="610"/>
                    </a:cubicBezTo>
                    <a:cubicBezTo>
                      <a:pt x="126" y="610"/>
                      <a:pt x="126" y="610"/>
                      <a:pt x="126" y="610"/>
                    </a:cubicBezTo>
                    <a:cubicBezTo>
                      <a:pt x="114" y="610"/>
                      <a:pt x="104" y="620"/>
                      <a:pt x="104" y="632"/>
                    </a:cubicBezTo>
                    <a:cubicBezTo>
                      <a:pt x="104" y="644"/>
                      <a:pt x="114" y="654"/>
                      <a:pt x="126" y="654"/>
                    </a:cubicBezTo>
                    <a:cubicBezTo>
                      <a:pt x="320" y="654"/>
                      <a:pt x="320" y="654"/>
                      <a:pt x="320" y="654"/>
                    </a:cubicBezTo>
                    <a:cubicBezTo>
                      <a:pt x="332" y="654"/>
                      <a:pt x="342" y="644"/>
                      <a:pt x="342" y="632"/>
                    </a:cubicBezTo>
                    <a:close/>
                    <a:moveTo>
                      <a:pt x="552" y="531"/>
                    </a:moveTo>
                    <a:cubicBezTo>
                      <a:pt x="552" y="519"/>
                      <a:pt x="542" y="509"/>
                      <a:pt x="530" y="509"/>
                    </a:cubicBezTo>
                    <a:cubicBezTo>
                      <a:pt x="126" y="509"/>
                      <a:pt x="126" y="509"/>
                      <a:pt x="126" y="509"/>
                    </a:cubicBezTo>
                    <a:cubicBezTo>
                      <a:pt x="114" y="509"/>
                      <a:pt x="104" y="519"/>
                      <a:pt x="104" y="531"/>
                    </a:cubicBezTo>
                    <a:cubicBezTo>
                      <a:pt x="104" y="543"/>
                      <a:pt x="114" y="553"/>
                      <a:pt x="126" y="553"/>
                    </a:cubicBezTo>
                    <a:cubicBezTo>
                      <a:pt x="530" y="553"/>
                      <a:pt x="530" y="553"/>
                      <a:pt x="530" y="553"/>
                    </a:cubicBezTo>
                    <a:cubicBezTo>
                      <a:pt x="542" y="553"/>
                      <a:pt x="552" y="543"/>
                      <a:pt x="552" y="531"/>
                    </a:cubicBezTo>
                    <a:close/>
                    <a:moveTo>
                      <a:pt x="552" y="430"/>
                    </a:moveTo>
                    <a:cubicBezTo>
                      <a:pt x="552" y="418"/>
                      <a:pt x="542" y="408"/>
                      <a:pt x="530" y="408"/>
                    </a:cubicBezTo>
                    <a:cubicBezTo>
                      <a:pt x="126" y="408"/>
                      <a:pt x="126" y="408"/>
                      <a:pt x="126" y="408"/>
                    </a:cubicBezTo>
                    <a:cubicBezTo>
                      <a:pt x="114" y="408"/>
                      <a:pt x="104" y="418"/>
                      <a:pt x="104" y="430"/>
                    </a:cubicBezTo>
                    <a:cubicBezTo>
                      <a:pt x="104" y="442"/>
                      <a:pt x="114" y="452"/>
                      <a:pt x="126" y="452"/>
                    </a:cubicBezTo>
                    <a:cubicBezTo>
                      <a:pt x="530" y="452"/>
                      <a:pt x="530" y="452"/>
                      <a:pt x="530" y="452"/>
                    </a:cubicBezTo>
                    <a:cubicBezTo>
                      <a:pt x="542" y="452"/>
                      <a:pt x="552" y="442"/>
                      <a:pt x="552" y="430"/>
                    </a:cubicBezTo>
                    <a:close/>
                    <a:moveTo>
                      <a:pt x="552" y="329"/>
                    </a:moveTo>
                    <a:cubicBezTo>
                      <a:pt x="552" y="317"/>
                      <a:pt x="542" y="307"/>
                      <a:pt x="530" y="307"/>
                    </a:cubicBezTo>
                    <a:cubicBezTo>
                      <a:pt x="126" y="307"/>
                      <a:pt x="126" y="307"/>
                      <a:pt x="126" y="307"/>
                    </a:cubicBezTo>
                    <a:cubicBezTo>
                      <a:pt x="114" y="307"/>
                      <a:pt x="104" y="317"/>
                      <a:pt x="104" y="329"/>
                    </a:cubicBezTo>
                    <a:cubicBezTo>
                      <a:pt x="104" y="341"/>
                      <a:pt x="114" y="351"/>
                      <a:pt x="126" y="351"/>
                    </a:cubicBezTo>
                    <a:cubicBezTo>
                      <a:pt x="530" y="351"/>
                      <a:pt x="530" y="351"/>
                      <a:pt x="530" y="351"/>
                    </a:cubicBezTo>
                    <a:cubicBezTo>
                      <a:pt x="542" y="351"/>
                      <a:pt x="552" y="341"/>
                      <a:pt x="552" y="329"/>
                    </a:cubicBezTo>
                    <a:close/>
                    <a:moveTo>
                      <a:pt x="552" y="228"/>
                    </a:moveTo>
                    <a:cubicBezTo>
                      <a:pt x="552" y="216"/>
                      <a:pt x="542" y="206"/>
                      <a:pt x="530" y="206"/>
                    </a:cubicBezTo>
                    <a:cubicBezTo>
                      <a:pt x="126" y="206"/>
                      <a:pt x="126" y="206"/>
                      <a:pt x="126" y="206"/>
                    </a:cubicBezTo>
                    <a:cubicBezTo>
                      <a:pt x="114" y="206"/>
                      <a:pt x="104" y="216"/>
                      <a:pt x="104" y="228"/>
                    </a:cubicBezTo>
                    <a:cubicBezTo>
                      <a:pt x="104" y="240"/>
                      <a:pt x="114" y="250"/>
                      <a:pt x="126" y="250"/>
                    </a:cubicBezTo>
                    <a:cubicBezTo>
                      <a:pt x="530" y="250"/>
                      <a:pt x="530" y="250"/>
                      <a:pt x="530" y="250"/>
                    </a:cubicBezTo>
                    <a:cubicBezTo>
                      <a:pt x="542" y="250"/>
                      <a:pt x="552" y="240"/>
                      <a:pt x="552" y="228"/>
                    </a:cubicBez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>
                  <a:solidFill>
                    <a:srgbClr val="686F6F"/>
                  </a:solidFill>
                </a:endParaRPr>
              </a:p>
            </p:txBody>
          </p:sp>
        </p:grpSp>
      </p:grpSp>
      <p:pic>
        <p:nvPicPr>
          <p:cNvPr id="278" name="Picture 27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797" y="1548769"/>
            <a:ext cx="2885377" cy="82243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cxnSp>
        <p:nvCxnSpPr>
          <p:cNvPr id="17" name="Straight Arrow Connector 16"/>
          <p:cNvCxnSpPr/>
          <p:nvPr/>
        </p:nvCxnSpPr>
        <p:spPr>
          <a:xfrm flipV="1">
            <a:off x="1522985" y="2481943"/>
            <a:ext cx="0" cy="1935843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/>
          <p:cNvCxnSpPr/>
          <p:nvPr/>
        </p:nvCxnSpPr>
        <p:spPr>
          <a:xfrm flipV="1">
            <a:off x="3599661" y="2481943"/>
            <a:ext cx="0" cy="1935843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/>
          <p:nvPr/>
        </p:nvCxnSpPr>
        <p:spPr>
          <a:xfrm flipV="1">
            <a:off x="10763140" y="2502040"/>
            <a:ext cx="0" cy="1915748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/>
          <p:cNvSpPr txBox="1"/>
          <p:nvPr/>
        </p:nvSpPr>
        <p:spPr>
          <a:xfrm>
            <a:off x="1208652" y="2926583"/>
            <a:ext cx="24365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ru-RU" sz="1000" b="1" dirty="0" err="1">
                <a:solidFill>
                  <a:srgbClr val="686F6F"/>
                </a:solidFill>
                <a:latin typeface="+mj-lt"/>
              </a:rPr>
              <a:t>ЭВС</a:t>
            </a:r>
            <a:endParaRPr lang="ru-RU" sz="1000" b="1" dirty="0">
              <a:solidFill>
                <a:srgbClr val="686F6F"/>
              </a:solidFill>
              <a:latin typeface="+mj-lt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3297334" y="2926583"/>
            <a:ext cx="24365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ru-RU" sz="1000" b="1" dirty="0" err="1">
                <a:solidFill>
                  <a:srgbClr val="686F6F"/>
                </a:solidFill>
                <a:latin typeface="+mj-lt"/>
              </a:rPr>
              <a:t>ЭВС</a:t>
            </a:r>
            <a:endParaRPr lang="ru-RU" sz="1000" b="1" dirty="0">
              <a:solidFill>
                <a:srgbClr val="686F6F"/>
              </a:solidFill>
              <a:latin typeface="+mj-lt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9853115" y="2926583"/>
            <a:ext cx="707704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Данные по</a:t>
            </a:r>
          </a:p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отгрузке</a:t>
            </a:r>
          </a:p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(из </a:t>
            </a:r>
            <a:r>
              <a:rPr lang="ru-RU" sz="1000" dirty="0" err="1">
                <a:solidFill>
                  <a:srgbClr val="7F7F7F"/>
                </a:solidFill>
                <a:latin typeface="+mj-lt"/>
              </a:rPr>
              <a:t>УПД</a:t>
            </a:r>
            <a:r>
              <a:rPr lang="ru-RU" sz="1000" dirty="0">
                <a:solidFill>
                  <a:srgbClr val="7F7F7F"/>
                </a:solidFill>
                <a:latin typeface="+mj-lt"/>
              </a:rPr>
              <a:t>)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10826852" y="2926583"/>
            <a:ext cx="564257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Данные о</a:t>
            </a:r>
          </a:p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выбытии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3863377" y="3976998"/>
            <a:ext cx="1595497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Данные о выбытии сырья в производство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8581072" y="3272867"/>
            <a:ext cx="908569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dirty="0">
                <a:solidFill>
                  <a:srgbClr val="7F7F7F"/>
                </a:solidFill>
                <a:latin typeface="+mj-lt"/>
              </a:rPr>
              <a:t>Выпущенные коды маркировки</a:t>
            </a:r>
          </a:p>
        </p:txBody>
      </p:sp>
      <p:sp>
        <p:nvSpPr>
          <p:cNvPr id="3" name="Rectangle 2"/>
          <p:cNvSpPr/>
          <p:nvPr/>
        </p:nvSpPr>
        <p:spPr>
          <a:xfrm>
            <a:off x="6134318" y="4625871"/>
            <a:ext cx="410086" cy="833120"/>
          </a:xfrm>
          <a:prstGeom prst="rect">
            <a:avLst/>
          </a:prstGeom>
          <a:solidFill>
            <a:schemeClr val="bg1">
              <a:alpha val="44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 err="1">
              <a:solidFill>
                <a:srgbClr val="FFFFFF"/>
              </a:solidFill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9275711" y="1667926"/>
            <a:ext cx="1690437" cy="554726"/>
            <a:chOff x="1138737" y="1484605"/>
            <a:chExt cx="3181419" cy="1044000"/>
          </a:xfrm>
        </p:grpSpPr>
        <p:sp>
          <p:nvSpPr>
            <p:cNvPr id="102" name="Rectangle 101"/>
            <p:cNvSpPr/>
            <p:nvPr/>
          </p:nvSpPr>
          <p:spPr>
            <a:xfrm>
              <a:off x="3678600" y="1520265"/>
              <a:ext cx="641556" cy="972678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2952385" y="1570381"/>
              <a:ext cx="1088784" cy="872449"/>
            </a:xfrm>
            <a:prstGeom prst="rect">
              <a:avLst/>
            </a:prstGeom>
            <a:solidFill>
              <a:srgbClr val="F4EA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6" name="Picture 10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737" y="1570381"/>
              <a:ext cx="2051020" cy="872449"/>
            </a:xfrm>
            <a:prstGeom prst="rect">
              <a:avLst/>
            </a:prstGeom>
          </p:spPr>
        </p:pic>
        <p:sp>
          <p:nvSpPr>
            <p:cNvPr id="107" name="Rectangle 106"/>
            <p:cNvSpPr/>
            <p:nvPr/>
          </p:nvSpPr>
          <p:spPr>
            <a:xfrm>
              <a:off x="3677045" y="1484605"/>
              <a:ext cx="641556" cy="1044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9" name="Shape 247"/>
            <p:cNvPicPr preferRelativeResize="0">
              <a:picLocks noChangeAspect="1"/>
            </p:cNvPicPr>
            <p:nvPr/>
          </p:nvPicPr>
          <p:blipFill rotWithShape="1">
            <a:blip r:embed="rId8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 l="42205" t="49494" r="44764" b="24172"/>
            <a:stretch/>
          </p:blipFill>
          <p:spPr>
            <a:xfrm>
              <a:off x="3239118" y="1561229"/>
              <a:ext cx="880266" cy="881600"/>
            </a:xfrm>
            <a:prstGeom prst="ellipse">
              <a:avLst/>
            </a:prstGeom>
            <a:noFill/>
            <a:ln>
              <a:noFill/>
            </a:ln>
          </p:spPr>
        </p:pic>
      </p:grpSp>
      <p:pic>
        <p:nvPicPr>
          <p:cNvPr id="111" name="Picture 110"/>
          <p:cNvPicPr preferRelativeResize="0"/>
          <p:nvPr/>
        </p:nvPicPr>
        <p:blipFill rotWithShape="1">
          <a:blip r:embed="rId9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cxnSp>
        <p:nvCxnSpPr>
          <p:cNvPr id="117" name="Straight Arrow Connector 116"/>
          <p:cNvCxnSpPr/>
          <p:nvPr/>
        </p:nvCxnSpPr>
        <p:spPr>
          <a:xfrm flipV="1">
            <a:off x="6300317" y="2713055"/>
            <a:ext cx="0" cy="142876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5243614" y="2815693"/>
            <a:ext cx="939314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Мастер-данные о товарах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4115472" y="2044782"/>
            <a:ext cx="1240765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Мастер-данные о товарах для </a:t>
            </a:r>
            <a:r>
              <a:rPr lang="ru-RU" sz="1000" dirty="0" err="1">
                <a:solidFill>
                  <a:srgbClr val="7F7F7F"/>
                </a:solidFill>
                <a:latin typeface="+mj-lt"/>
              </a:rPr>
              <a:t>ЭВС</a:t>
            </a:r>
            <a:endParaRPr lang="ru-RU" sz="1000" dirty="0">
              <a:solidFill>
                <a:srgbClr val="7F7F7F"/>
              </a:solidFill>
              <a:latin typeface="+mj-lt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7337235" y="2027198"/>
            <a:ext cx="1692940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Мастер-данные о товарах для маркировки</a:t>
            </a:r>
          </a:p>
        </p:txBody>
      </p:sp>
      <p:cxnSp>
        <p:nvCxnSpPr>
          <p:cNvPr id="134" name="Straight Arrow Connector 133"/>
          <p:cNvCxnSpPr/>
          <p:nvPr/>
        </p:nvCxnSpPr>
        <p:spPr>
          <a:xfrm>
            <a:off x="7079271" y="2402534"/>
            <a:ext cx="1986804" cy="0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/>
          <p:cNvCxnSpPr/>
          <p:nvPr/>
        </p:nvCxnSpPr>
        <p:spPr>
          <a:xfrm flipH="1">
            <a:off x="4012245" y="2402534"/>
            <a:ext cx="1787627" cy="0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/>
          <p:cNvCxnSpPr>
            <a:cxnSpLocks/>
          </p:cNvCxnSpPr>
          <p:nvPr/>
        </p:nvCxnSpPr>
        <p:spPr>
          <a:xfrm flipH="1">
            <a:off x="6672315" y="2481943"/>
            <a:ext cx="2712845" cy="2396086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" name="Picture 1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749" y="1954394"/>
            <a:ext cx="1846339" cy="601230"/>
          </a:xfrm>
          <a:prstGeom prst="rect">
            <a:avLst/>
          </a:prstGeom>
          <a:ln w="9525" cap="flat" cmpd="sng" algn="ctr">
            <a:solidFill>
              <a:srgbClr val="686F6F"/>
            </a:solidFill>
            <a:prstDash val="solid"/>
            <a:round/>
            <a:headEnd type="none" w="med" len="med"/>
            <a:tailEnd type="none" w="med" len="med"/>
          </a:ln>
        </p:spPr>
      </p:pic>
      <p:cxnSp>
        <p:nvCxnSpPr>
          <p:cNvPr id="240" name="Elbow Connector 239"/>
          <p:cNvCxnSpPr>
            <a:stCxn id="108" idx="0"/>
          </p:cNvCxnSpPr>
          <p:nvPr/>
        </p:nvCxnSpPr>
        <p:spPr>
          <a:xfrm rot="5400000" flipH="1" flipV="1">
            <a:off x="8413604" y="2739424"/>
            <a:ext cx="1661119" cy="1105965"/>
          </a:xfrm>
          <a:prstGeom prst="bentConnector3">
            <a:avLst>
              <a:gd name="adj1" fmla="val 7051"/>
            </a:avLst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 стрелкой 6"/>
          <p:cNvCxnSpPr/>
          <p:nvPr/>
        </p:nvCxnSpPr>
        <p:spPr>
          <a:xfrm flipV="1">
            <a:off x="6581672" y="2555624"/>
            <a:ext cx="2484403" cy="2162059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>
            <a:off x="6996327" y="2832677"/>
            <a:ext cx="987828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000" dirty="0">
                <a:solidFill>
                  <a:srgbClr val="7F7F7F"/>
                </a:solidFill>
                <a:latin typeface="+mj-lt"/>
              </a:rPr>
              <a:t>Данные для выпуска кодов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244377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4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562" y="277598"/>
            <a:ext cx="10835851" cy="664797"/>
          </a:xfrm>
        </p:spPr>
        <p:txBody>
          <a:bodyPr/>
          <a:lstStyle/>
          <a:p>
            <a:r>
              <a:rPr lang="ru-RU" dirty="0"/>
              <a:t>Национальный каталог </a:t>
            </a:r>
            <a:r>
              <a:rPr lang="ru-RU"/>
              <a:t>станет цифровой экосистемой, объединяющей всех участников</a:t>
            </a:r>
            <a:endParaRPr lang="en-US" dirty="0"/>
          </a:p>
        </p:txBody>
      </p:sp>
      <p:sp>
        <p:nvSpPr>
          <p:cNvPr id="191" name="Oval 190"/>
          <p:cNvSpPr/>
          <p:nvPr/>
        </p:nvSpPr>
        <p:spPr>
          <a:xfrm>
            <a:off x="6607061" y="2708691"/>
            <a:ext cx="49986" cy="91876"/>
          </a:xfrm>
          <a:prstGeom prst="ellipse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59595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611817" y="4338568"/>
            <a:ext cx="1262023" cy="30777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Логистика, дистрибьюторы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sp>
        <p:nvSpPr>
          <p:cNvPr id="9" name="AutoShape 28">
            <a:extLst>
              <a:ext uri="{FF2B5EF4-FFF2-40B4-BE49-F238E27FC236}">
                <a16:creationId xmlns:a16="http://schemas.microsoft.com/office/drawing/2014/main" id="{7563FC07-0F95-4975-8A35-266F618BA3E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181711" y="3751918"/>
            <a:ext cx="647400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A9A9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49BC73FE-6853-4419-AC44-1784975BCF4D}"/>
              </a:ext>
            </a:extLst>
          </p:cNvPr>
          <p:cNvSpPr>
            <a:spLocks noEditPoints="1"/>
          </p:cNvSpPr>
          <p:nvPr/>
        </p:nvSpPr>
        <p:spPr bwMode="auto">
          <a:xfrm>
            <a:off x="2285961" y="3892018"/>
            <a:ext cx="439500" cy="378450"/>
          </a:xfrm>
          <a:custGeom>
            <a:avLst/>
            <a:gdLst>
              <a:gd name="T0" fmla="*/ 752 w 1564"/>
              <a:gd name="T1" fmla="*/ 1346 h 1346"/>
              <a:gd name="T2" fmla="*/ 479 w 1564"/>
              <a:gd name="T3" fmla="*/ 1346 h 1346"/>
              <a:gd name="T4" fmla="*/ 469 w 1564"/>
              <a:gd name="T5" fmla="*/ 1336 h 1346"/>
              <a:gd name="T6" fmla="*/ 469 w 1564"/>
              <a:gd name="T7" fmla="*/ 856 h 1346"/>
              <a:gd name="T8" fmla="*/ 479 w 1564"/>
              <a:gd name="T9" fmla="*/ 846 h 1346"/>
              <a:gd name="T10" fmla="*/ 752 w 1564"/>
              <a:gd name="T11" fmla="*/ 846 h 1346"/>
              <a:gd name="T12" fmla="*/ 762 w 1564"/>
              <a:gd name="T13" fmla="*/ 856 h 1346"/>
              <a:gd name="T14" fmla="*/ 762 w 1564"/>
              <a:gd name="T15" fmla="*/ 1336 h 1346"/>
              <a:gd name="T16" fmla="*/ 752 w 1564"/>
              <a:gd name="T17" fmla="*/ 1346 h 1346"/>
              <a:gd name="T18" fmla="*/ 1095 w 1564"/>
              <a:gd name="T19" fmla="*/ 1336 h 1346"/>
              <a:gd name="T20" fmla="*/ 1095 w 1564"/>
              <a:gd name="T21" fmla="*/ 856 h 1346"/>
              <a:gd name="T22" fmla="*/ 1085 w 1564"/>
              <a:gd name="T23" fmla="*/ 846 h 1346"/>
              <a:gd name="T24" fmla="*/ 812 w 1564"/>
              <a:gd name="T25" fmla="*/ 846 h 1346"/>
              <a:gd name="T26" fmla="*/ 802 w 1564"/>
              <a:gd name="T27" fmla="*/ 856 h 1346"/>
              <a:gd name="T28" fmla="*/ 802 w 1564"/>
              <a:gd name="T29" fmla="*/ 1336 h 1346"/>
              <a:gd name="T30" fmla="*/ 812 w 1564"/>
              <a:gd name="T31" fmla="*/ 1346 h 1346"/>
              <a:gd name="T32" fmla="*/ 1085 w 1564"/>
              <a:gd name="T33" fmla="*/ 1346 h 1346"/>
              <a:gd name="T34" fmla="*/ 1095 w 1564"/>
              <a:gd name="T35" fmla="*/ 1336 h 1346"/>
              <a:gd name="T36" fmla="*/ 1554 w 1564"/>
              <a:gd name="T37" fmla="*/ 372 h 1346"/>
              <a:gd name="T38" fmla="*/ 1384 w 1564"/>
              <a:gd name="T39" fmla="*/ 18 h 1346"/>
              <a:gd name="T40" fmla="*/ 1360 w 1564"/>
              <a:gd name="T41" fmla="*/ 0 h 1346"/>
              <a:gd name="T42" fmla="*/ 205 w 1564"/>
              <a:gd name="T43" fmla="*/ 0 h 1346"/>
              <a:gd name="T44" fmla="*/ 180 w 1564"/>
              <a:gd name="T45" fmla="*/ 20 h 1346"/>
              <a:gd name="T46" fmla="*/ 10 w 1564"/>
              <a:gd name="T47" fmla="*/ 370 h 1346"/>
              <a:gd name="T48" fmla="*/ 34 w 1564"/>
              <a:gd name="T49" fmla="*/ 408 h 1346"/>
              <a:gd name="T50" fmla="*/ 1530 w 1564"/>
              <a:gd name="T51" fmla="*/ 408 h 1346"/>
              <a:gd name="T52" fmla="*/ 1554 w 1564"/>
              <a:gd name="T53" fmla="*/ 372 h 1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64" h="1346">
                <a:moveTo>
                  <a:pt x="752" y="1346"/>
                </a:moveTo>
                <a:cubicBezTo>
                  <a:pt x="479" y="1346"/>
                  <a:pt x="479" y="1346"/>
                  <a:pt x="479" y="1346"/>
                </a:cubicBezTo>
                <a:cubicBezTo>
                  <a:pt x="474" y="1346"/>
                  <a:pt x="469" y="1342"/>
                  <a:pt x="469" y="1336"/>
                </a:cubicBezTo>
                <a:cubicBezTo>
                  <a:pt x="469" y="856"/>
                  <a:pt x="469" y="856"/>
                  <a:pt x="469" y="856"/>
                </a:cubicBezTo>
                <a:cubicBezTo>
                  <a:pt x="469" y="851"/>
                  <a:pt x="474" y="846"/>
                  <a:pt x="479" y="846"/>
                </a:cubicBezTo>
                <a:cubicBezTo>
                  <a:pt x="752" y="846"/>
                  <a:pt x="752" y="846"/>
                  <a:pt x="752" y="846"/>
                </a:cubicBezTo>
                <a:cubicBezTo>
                  <a:pt x="758" y="846"/>
                  <a:pt x="762" y="851"/>
                  <a:pt x="762" y="856"/>
                </a:cubicBezTo>
                <a:cubicBezTo>
                  <a:pt x="762" y="1336"/>
                  <a:pt x="762" y="1336"/>
                  <a:pt x="762" y="1336"/>
                </a:cubicBezTo>
                <a:cubicBezTo>
                  <a:pt x="762" y="1342"/>
                  <a:pt x="758" y="1346"/>
                  <a:pt x="752" y="1346"/>
                </a:cubicBezTo>
                <a:close/>
                <a:moveTo>
                  <a:pt x="1095" y="1336"/>
                </a:moveTo>
                <a:cubicBezTo>
                  <a:pt x="1095" y="856"/>
                  <a:pt x="1095" y="856"/>
                  <a:pt x="1095" y="856"/>
                </a:cubicBezTo>
                <a:cubicBezTo>
                  <a:pt x="1095" y="851"/>
                  <a:pt x="1090" y="846"/>
                  <a:pt x="1085" y="846"/>
                </a:cubicBezTo>
                <a:cubicBezTo>
                  <a:pt x="812" y="846"/>
                  <a:pt x="812" y="846"/>
                  <a:pt x="812" y="846"/>
                </a:cubicBezTo>
                <a:cubicBezTo>
                  <a:pt x="806" y="846"/>
                  <a:pt x="802" y="851"/>
                  <a:pt x="802" y="856"/>
                </a:cubicBezTo>
                <a:cubicBezTo>
                  <a:pt x="802" y="1336"/>
                  <a:pt x="802" y="1336"/>
                  <a:pt x="802" y="1336"/>
                </a:cubicBezTo>
                <a:cubicBezTo>
                  <a:pt x="802" y="1342"/>
                  <a:pt x="806" y="1346"/>
                  <a:pt x="812" y="1346"/>
                </a:cubicBezTo>
                <a:cubicBezTo>
                  <a:pt x="1085" y="1346"/>
                  <a:pt x="1085" y="1346"/>
                  <a:pt x="1085" y="1346"/>
                </a:cubicBezTo>
                <a:cubicBezTo>
                  <a:pt x="1090" y="1346"/>
                  <a:pt x="1095" y="1342"/>
                  <a:pt x="1095" y="1336"/>
                </a:cubicBezTo>
                <a:close/>
                <a:moveTo>
                  <a:pt x="1554" y="372"/>
                </a:moveTo>
                <a:cubicBezTo>
                  <a:pt x="1384" y="18"/>
                  <a:pt x="1384" y="18"/>
                  <a:pt x="1384" y="18"/>
                </a:cubicBezTo>
                <a:cubicBezTo>
                  <a:pt x="1379" y="9"/>
                  <a:pt x="1370" y="0"/>
                  <a:pt x="1360" y="0"/>
                </a:cubicBezTo>
                <a:cubicBezTo>
                  <a:pt x="205" y="0"/>
                  <a:pt x="205" y="0"/>
                  <a:pt x="205" y="0"/>
                </a:cubicBezTo>
                <a:cubicBezTo>
                  <a:pt x="194" y="0"/>
                  <a:pt x="185" y="11"/>
                  <a:pt x="180" y="20"/>
                </a:cubicBezTo>
                <a:cubicBezTo>
                  <a:pt x="10" y="370"/>
                  <a:pt x="10" y="370"/>
                  <a:pt x="10" y="370"/>
                </a:cubicBezTo>
                <a:cubicBezTo>
                  <a:pt x="0" y="388"/>
                  <a:pt x="14" y="408"/>
                  <a:pt x="34" y="408"/>
                </a:cubicBezTo>
                <a:cubicBezTo>
                  <a:pt x="1530" y="408"/>
                  <a:pt x="1530" y="408"/>
                  <a:pt x="1530" y="408"/>
                </a:cubicBezTo>
                <a:cubicBezTo>
                  <a:pt x="1551" y="408"/>
                  <a:pt x="1564" y="391"/>
                  <a:pt x="1554" y="37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76C2B07B-CC10-467E-80DB-D1179FF6D780}"/>
              </a:ext>
            </a:extLst>
          </p:cNvPr>
          <p:cNvSpPr>
            <a:spLocks noEditPoints="1"/>
          </p:cNvSpPr>
          <p:nvPr/>
        </p:nvSpPr>
        <p:spPr bwMode="auto">
          <a:xfrm>
            <a:off x="2285361" y="3867268"/>
            <a:ext cx="440700" cy="465450"/>
          </a:xfrm>
          <a:custGeom>
            <a:avLst/>
            <a:gdLst>
              <a:gd name="T0" fmla="*/ 1524 w 1568"/>
              <a:gd name="T1" fmla="*/ 1529 h 1655"/>
              <a:gd name="T2" fmla="*/ 1459 w 1568"/>
              <a:gd name="T3" fmla="*/ 1529 h 1655"/>
              <a:gd name="T4" fmla="*/ 1459 w 1568"/>
              <a:gd name="T5" fmla="*/ 1500 h 1655"/>
              <a:gd name="T6" fmla="*/ 1438 w 1568"/>
              <a:gd name="T7" fmla="*/ 1478 h 1655"/>
              <a:gd name="T8" fmla="*/ 130 w 1568"/>
              <a:gd name="T9" fmla="*/ 1478 h 1655"/>
              <a:gd name="T10" fmla="*/ 109 w 1568"/>
              <a:gd name="T11" fmla="*/ 1500 h 1655"/>
              <a:gd name="T12" fmla="*/ 109 w 1568"/>
              <a:gd name="T13" fmla="*/ 1529 h 1655"/>
              <a:gd name="T14" fmla="*/ 44 w 1568"/>
              <a:gd name="T15" fmla="*/ 1529 h 1655"/>
              <a:gd name="T16" fmla="*/ 23 w 1568"/>
              <a:gd name="T17" fmla="*/ 1551 h 1655"/>
              <a:gd name="T18" fmla="*/ 23 w 1568"/>
              <a:gd name="T19" fmla="*/ 1634 h 1655"/>
              <a:gd name="T20" fmla="*/ 44 w 1568"/>
              <a:gd name="T21" fmla="*/ 1655 h 1655"/>
              <a:gd name="T22" fmla="*/ 1524 w 1568"/>
              <a:gd name="T23" fmla="*/ 1655 h 1655"/>
              <a:gd name="T24" fmla="*/ 1545 w 1568"/>
              <a:gd name="T25" fmla="*/ 1634 h 1655"/>
              <a:gd name="T26" fmla="*/ 1545 w 1568"/>
              <a:gd name="T27" fmla="*/ 1551 h 1655"/>
              <a:gd name="T28" fmla="*/ 1524 w 1568"/>
              <a:gd name="T29" fmla="*/ 1529 h 1655"/>
              <a:gd name="T30" fmla="*/ 1568 w 1568"/>
              <a:gd name="T31" fmla="*/ 562 h 1655"/>
              <a:gd name="T32" fmla="*/ 1568 w 1568"/>
              <a:gd name="T33" fmla="*/ 583 h 1655"/>
              <a:gd name="T34" fmla="*/ 1568 w 1568"/>
              <a:gd name="T35" fmla="*/ 583 h 1655"/>
              <a:gd name="T36" fmla="*/ 1394 w 1568"/>
              <a:gd name="T37" fmla="*/ 778 h 1655"/>
              <a:gd name="T38" fmla="*/ 1394 w 1568"/>
              <a:gd name="T39" fmla="*/ 1434 h 1655"/>
              <a:gd name="T40" fmla="*/ 1350 w 1568"/>
              <a:gd name="T41" fmla="*/ 1434 h 1655"/>
              <a:gd name="T42" fmla="*/ 1350 w 1568"/>
              <a:gd name="T43" fmla="*/ 778 h 1655"/>
              <a:gd name="T44" fmla="*/ 1176 w 1568"/>
              <a:gd name="T45" fmla="*/ 588 h 1655"/>
              <a:gd name="T46" fmla="*/ 980 w 1568"/>
              <a:gd name="T47" fmla="*/ 779 h 1655"/>
              <a:gd name="T48" fmla="*/ 784 w 1568"/>
              <a:gd name="T49" fmla="*/ 588 h 1655"/>
              <a:gd name="T50" fmla="*/ 588 w 1568"/>
              <a:gd name="T51" fmla="*/ 779 h 1655"/>
              <a:gd name="T52" fmla="*/ 392 w 1568"/>
              <a:gd name="T53" fmla="*/ 588 h 1655"/>
              <a:gd name="T54" fmla="*/ 218 w 1568"/>
              <a:gd name="T55" fmla="*/ 778 h 1655"/>
              <a:gd name="T56" fmla="*/ 218 w 1568"/>
              <a:gd name="T57" fmla="*/ 1434 h 1655"/>
              <a:gd name="T58" fmla="*/ 174 w 1568"/>
              <a:gd name="T59" fmla="*/ 1434 h 1655"/>
              <a:gd name="T60" fmla="*/ 174 w 1568"/>
              <a:gd name="T61" fmla="*/ 778 h 1655"/>
              <a:gd name="T62" fmla="*/ 0 w 1568"/>
              <a:gd name="T63" fmla="*/ 583 h 1655"/>
              <a:gd name="T64" fmla="*/ 0 w 1568"/>
              <a:gd name="T65" fmla="*/ 583 h 1655"/>
              <a:gd name="T66" fmla="*/ 0 w 1568"/>
              <a:gd name="T67" fmla="*/ 562 h 1655"/>
              <a:gd name="T68" fmla="*/ 22 w 1568"/>
              <a:gd name="T69" fmla="*/ 540 h 1655"/>
              <a:gd name="T70" fmla="*/ 1546 w 1568"/>
              <a:gd name="T71" fmla="*/ 540 h 1655"/>
              <a:gd name="T72" fmla="*/ 1568 w 1568"/>
              <a:gd name="T73" fmla="*/ 562 h 1655"/>
              <a:gd name="T74" fmla="*/ 1354 w 1568"/>
              <a:gd name="T75" fmla="*/ 44 h 1655"/>
              <a:gd name="T76" fmla="*/ 214 w 1568"/>
              <a:gd name="T77" fmla="*/ 44 h 1655"/>
              <a:gd name="T78" fmla="*/ 192 w 1568"/>
              <a:gd name="T79" fmla="*/ 22 h 1655"/>
              <a:gd name="T80" fmla="*/ 214 w 1568"/>
              <a:gd name="T81" fmla="*/ 0 h 1655"/>
              <a:gd name="T82" fmla="*/ 1354 w 1568"/>
              <a:gd name="T83" fmla="*/ 0 h 1655"/>
              <a:gd name="T84" fmla="*/ 1376 w 1568"/>
              <a:gd name="T85" fmla="*/ 22 h 1655"/>
              <a:gd name="T86" fmla="*/ 1354 w 1568"/>
              <a:gd name="T87" fmla="*/ 44 h 1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68" h="1655">
                <a:moveTo>
                  <a:pt x="1524" y="1529"/>
                </a:moveTo>
                <a:cubicBezTo>
                  <a:pt x="1459" y="1529"/>
                  <a:pt x="1459" y="1529"/>
                  <a:pt x="1459" y="1529"/>
                </a:cubicBezTo>
                <a:cubicBezTo>
                  <a:pt x="1459" y="1500"/>
                  <a:pt x="1459" y="1500"/>
                  <a:pt x="1459" y="1500"/>
                </a:cubicBezTo>
                <a:cubicBezTo>
                  <a:pt x="1459" y="1488"/>
                  <a:pt x="1450" y="1478"/>
                  <a:pt x="1438" y="1478"/>
                </a:cubicBezTo>
                <a:cubicBezTo>
                  <a:pt x="130" y="1478"/>
                  <a:pt x="130" y="1478"/>
                  <a:pt x="130" y="1478"/>
                </a:cubicBezTo>
                <a:cubicBezTo>
                  <a:pt x="118" y="1478"/>
                  <a:pt x="109" y="1488"/>
                  <a:pt x="109" y="1500"/>
                </a:cubicBezTo>
                <a:cubicBezTo>
                  <a:pt x="109" y="1529"/>
                  <a:pt x="109" y="1529"/>
                  <a:pt x="109" y="1529"/>
                </a:cubicBezTo>
                <a:cubicBezTo>
                  <a:pt x="44" y="1529"/>
                  <a:pt x="44" y="1529"/>
                  <a:pt x="44" y="1529"/>
                </a:cubicBezTo>
                <a:cubicBezTo>
                  <a:pt x="32" y="1529"/>
                  <a:pt x="23" y="1539"/>
                  <a:pt x="23" y="1551"/>
                </a:cubicBezTo>
                <a:cubicBezTo>
                  <a:pt x="23" y="1634"/>
                  <a:pt x="23" y="1634"/>
                  <a:pt x="23" y="1634"/>
                </a:cubicBezTo>
                <a:cubicBezTo>
                  <a:pt x="23" y="1646"/>
                  <a:pt x="32" y="1655"/>
                  <a:pt x="44" y="1655"/>
                </a:cubicBezTo>
                <a:cubicBezTo>
                  <a:pt x="1524" y="1655"/>
                  <a:pt x="1524" y="1655"/>
                  <a:pt x="1524" y="1655"/>
                </a:cubicBezTo>
                <a:cubicBezTo>
                  <a:pt x="1536" y="1655"/>
                  <a:pt x="1545" y="1646"/>
                  <a:pt x="1545" y="1634"/>
                </a:cubicBezTo>
                <a:cubicBezTo>
                  <a:pt x="1545" y="1551"/>
                  <a:pt x="1545" y="1551"/>
                  <a:pt x="1545" y="1551"/>
                </a:cubicBezTo>
                <a:cubicBezTo>
                  <a:pt x="1545" y="1539"/>
                  <a:pt x="1536" y="1529"/>
                  <a:pt x="1524" y="1529"/>
                </a:cubicBezTo>
                <a:close/>
                <a:moveTo>
                  <a:pt x="1568" y="562"/>
                </a:moveTo>
                <a:cubicBezTo>
                  <a:pt x="1568" y="583"/>
                  <a:pt x="1568" y="583"/>
                  <a:pt x="1568" y="583"/>
                </a:cubicBezTo>
                <a:cubicBezTo>
                  <a:pt x="1568" y="583"/>
                  <a:pt x="1568" y="583"/>
                  <a:pt x="1568" y="583"/>
                </a:cubicBezTo>
                <a:cubicBezTo>
                  <a:pt x="1568" y="684"/>
                  <a:pt x="1491" y="767"/>
                  <a:pt x="1394" y="778"/>
                </a:cubicBezTo>
                <a:cubicBezTo>
                  <a:pt x="1394" y="1434"/>
                  <a:pt x="1394" y="1434"/>
                  <a:pt x="1394" y="1434"/>
                </a:cubicBezTo>
                <a:cubicBezTo>
                  <a:pt x="1350" y="1434"/>
                  <a:pt x="1350" y="1434"/>
                  <a:pt x="1350" y="1434"/>
                </a:cubicBezTo>
                <a:cubicBezTo>
                  <a:pt x="1350" y="778"/>
                  <a:pt x="1350" y="778"/>
                  <a:pt x="1350" y="778"/>
                </a:cubicBezTo>
                <a:cubicBezTo>
                  <a:pt x="1253" y="767"/>
                  <a:pt x="1178" y="687"/>
                  <a:pt x="1176" y="588"/>
                </a:cubicBezTo>
                <a:cubicBezTo>
                  <a:pt x="1173" y="694"/>
                  <a:pt x="1086" y="779"/>
                  <a:pt x="980" y="779"/>
                </a:cubicBezTo>
                <a:cubicBezTo>
                  <a:pt x="873" y="779"/>
                  <a:pt x="787" y="694"/>
                  <a:pt x="784" y="588"/>
                </a:cubicBezTo>
                <a:cubicBezTo>
                  <a:pt x="781" y="694"/>
                  <a:pt x="695" y="779"/>
                  <a:pt x="588" y="779"/>
                </a:cubicBezTo>
                <a:cubicBezTo>
                  <a:pt x="482" y="779"/>
                  <a:pt x="395" y="694"/>
                  <a:pt x="392" y="588"/>
                </a:cubicBezTo>
                <a:cubicBezTo>
                  <a:pt x="390" y="687"/>
                  <a:pt x="315" y="767"/>
                  <a:pt x="218" y="778"/>
                </a:cubicBezTo>
                <a:cubicBezTo>
                  <a:pt x="218" y="1434"/>
                  <a:pt x="218" y="1434"/>
                  <a:pt x="218" y="1434"/>
                </a:cubicBezTo>
                <a:cubicBezTo>
                  <a:pt x="174" y="1434"/>
                  <a:pt x="174" y="1434"/>
                  <a:pt x="174" y="1434"/>
                </a:cubicBezTo>
                <a:cubicBezTo>
                  <a:pt x="174" y="778"/>
                  <a:pt x="174" y="778"/>
                  <a:pt x="174" y="778"/>
                </a:cubicBezTo>
                <a:cubicBezTo>
                  <a:pt x="77" y="767"/>
                  <a:pt x="0" y="684"/>
                  <a:pt x="0" y="583"/>
                </a:cubicBezTo>
                <a:cubicBezTo>
                  <a:pt x="0" y="583"/>
                  <a:pt x="0" y="583"/>
                  <a:pt x="0" y="583"/>
                </a:cubicBezTo>
                <a:cubicBezTo>
                  <a:pt x="0" y="562"/>
                  <a:pt x="0" y="562"/>
                  <a:pt x="0" y="562"/>
                </a:cubicBezTo>
                <a:cubicBezTo>
                  <a:pt x="0" y="549"/>
                  <a:pt x="10" y="540"/>
                  <a:pt x="22" y="540"/>
                </a:cubicBezTo>
                <a:cubicBezTo>
                  <a:pt x="1546" y="540"/>
                  <a:pt x="1546" y="540"/>
                  <a:pt x="1546" y="540"/>
                </a:cubicBezTo>
                <a:cubicBezTo>
                  <a:pt x="1558" y="540"/>
                  <a:pt x="1568" y="549"/>
                  <a:pt x="1568" y="562"/>
                </a:cubicBezTo>
                <a:close/>
                <a:moveTo>
                  <a:pt x="1354" y="44"/>
                </a:moveTo>
                <a:cubicBezTo>
                  <a:pt x="214" y="44"/>
                  <a:pt x="214" y="44"/>
                  <a:pt x="214" y="44"/>
                </a:cubicBezTo>
                <a:cubicBezTo>
                  <a:pt x="202" y="44"/>
                  <a:pt x="192" y="34"/>
                  <a:pt x="192" y="22"/>
                </a:cubicBezTo>
                <a:cubicBezTo>
                  <a:pt x="192" y="10"/>
                  <a:pt x="202" y="0"/>
                  <a:pt x="214" y="0"/>
                </a:cubicBezTo>
                <a:cubicBezTo>
                  <a:pt x="1354" y="0"/>
                  <a:pt x="1354" y="0"/>
                  <a:pt x="1354" y="0"/>
                </a:cubicBezTo>
                <a:cubicBezTo>
                  <a:pt x="1366" y="0"/>
                  <a:pt x="1376" y="10"/>
                  <a:pt x="1376" y="22"/>
                </a:cubicBezTo>
                <a:cubicBezTo>
                  <a:pt x="1376" y="34"/>
                  <a:pt x="1366" y="44"/>
                  <a:pt x="1354" y="44"/>
                </a:cubicBezTo>
                <a:close/>
              </a:path>
            </a:pathLst>
          </a:custGeom>
          <a:solidFill>
            <a:srgbClr val="98A6CC"/>
          </a:solidFill>
          <a:ln>
            <a:noFill/>
          </a:ln>
          <a:extLst/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1970417" y="4367804"/>
            <a:ext cx="1069987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Импортеры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6358" y="1686556"/>
            <a:ext cx="481796" cy="481796"/>
          </a:xfrm>
          <a:prstGeom prst="rect">
            <a:avLst/>
          </a:prstGeom>
        </p:spPr>
      </p:pic>
      <p:sp>
        <p:nvSpPr>
          <p:cNvPr id="4" name="AutoShape 13">
            <a:extLst>
              <a:ext uri="{FF2B5EF4-FFF2-40B4-BE49-F238E27FC236}">
                <a16:creationId xmlns:a16="http://schemas.microsoft.com/office/drawing/2014/main" id="{A6B62B7F-B1B2-4803-95E8-2DB8A96A0D9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3416014" y="3751918"/>
            <a:ext cx="647400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6" name="Freeform 15">
            <a:extLst>
              <a:ext uri="{FF2B5EF4-FFF2-40B4-BE49-F238E27FC236}">
                <a16:creationId xmlns:a16="http://schemas.microsoft.com/office/drawing/2014/main" id="{C49F8F87-804D-4785-B3FF-71E118F98807}"/>
              </a:ext>
            </a:extLst>
          </p:cNvPr>
          <p:cNvSpPr>
            <a:spLocks noEditPoints="1"/>
          </p:cNvSpPr>
          <p:nvPr/>
        </p:nvSpPr>
        <p:spPr bwMode="auto">
          <a:xfrm>
            <a:off x="3545614" y="4047718"/>
            <a:ext cx="388800" cy="121350"/>
          </a:xfrm>
          <a:custGeom>
            <a:avLst/>
            <a:gdLst>
              <a:gd name="T0" fmla="*/ 10 w 1384"/>
              <a:gd name="T1" fmla="*/ 183 h 431"/>
              <a:gd name="T2" fmla="*/ 0 w 1384"/>
              <a:gd name="T3" fmla="*/ 10 h 431"/>
              <a:gd name="T4" fmla="*/ 292 w 1384"/>
              <a:gd name="T5" fmla="*/ 0 h 431"/>
              <a:gd name="T6" fmla="*/ 302 w 1384"/>
              <a:gd name="T7" fmla="*/ 173 h 431"/>
              <a:gd name="T8" fmla="*/ 662 w 1384"/>
              <a:gd name="T9" fmla="*/ 173 h 431"/>
              <a:gd name="T10" fmla="*/ 652 w 1384"/>
              <a:gd name="T11" fmla="*/ 0 h 431"/>
              <a:gd name="T12" fmla="*/ 361 w 1384"/>
              <a:gd name="T13" fmla="*/ 10 h 431"/>
              <a:gd name="T14" fmla="*/ 371 w 1384"/>
              <a:gd name="T15" fmla="*/ 183 h 431"/>
              <a:gd name="T16" fmla="*/ 662 w 1384"/>
              <a:gd name="T17" fmla="*/ 173 h 431"/>
              <a:gd name="T18" fmla="*/ 1023 w 1384"/>
              <a:gd name="T19" fmla="*/ 10 h 431"/>
              <a:gd name="T20" fmla="*/ 732 w 1384"/>
              <a:gd name="T21" fmla="*/ 0 h 431"/>
              <a:gd name="T22" fmla="*/ 722 w 1384"/>
              <a:gd name="T23" fmla="*/ 173 h 431"/>
              <a:gd name="T24" fmla="*/ 1013 w 1384"/>
              <a:gd name="T25" fmla="*/ 183 h 431"/>
              <a:gd name="T26" fmla="*/ 1384 w 1384"/>
              <a:gd name="T27" fmla="*/ 173 h 431"/>
              <a:gd name="T28" fmla="*/ 1374 w 1384"/>
              <a:gd name="T29" fmla="*/ 0 h 431"/>
              <a:gd name="T30" fmla="*/ 1082 w 1384"/>
              <a:gd name="T31" fmla="*/ 10 h 431"/>
              <a:gd name="T32" fmla="*/ 1092 w 1384"/>
              <a:gd name="T33" fmla="*/ 183 h 431"/>
              <a:gd name="T34" fmla="*/ 1384 w 1384"/>
              <a:gd name="T35" fmla="*/ 173 h 431"/>
              <a:gd name="T36" fmla="*/ 302 w 1384"/>
              <a:gd name="T37" fmla="*/ 258 h 431"/>
              <a:gd name="T38" fmla="*/ 10 w 1384"/>
              <a:gd name="T39" fmla="*/ 248 h 431"/>
              <a:gd name="T40" fmla="*/ 0 w 1384"/>
              <a:gd name="T41" fmla="*/ 421 h 431"/>
              <a:gd name="T42" fmla="*/ 292 w 1384"/>
              <a:gd name="T43" fmla="*/ 431 h 431"/>
              <a:gd name="T44" fmla="*/ 662 w 1384"/>
              <a:gd name="T45" fmla="*/ 421 h 431"/>
              <a:gd name="T46" fmla="*/ 652 w 1384"/>
              <a:gd name="T47" fmla="*/ 248 h 431"/>
              <a:gd name="T48" fmla="*/ 361 w 1384"/>
              <a:gd name="T49" fmla="*/ 258 h 431"/>
              <a:gd name="T50" fmla="*/ 371 w 1384"/>
              <a:gd name="T51" fmla="*/ 431 h 431"/>
              <a:gd name="T52" fmla="*/ 662 w 1384"/>
              <a:gd name="T53" fmla="*/ 421 h 431"/>
              <a:gd name="T54" fmla="*/ 1023 w 1384"/>
              <a:gd name="T55" fmla="*/ 258 h 431"/>
              <a:gd name="T56" fmla="*/ 732 w 1384"/>
              <a:gd name="T57" fmla="*/ 248 h 431"/>
              <a:gd name="T58" fmla="*/ 722 w 1384"/>
              <a:gd name="T59" fmla="*/ 421 h 431"/>
              <a:gd name="T60" fmla="*/ 1013 w 1384"/>
              <a:gd name="T61" fmla="*/ 431 h 431"/>
              <a:gd name="T62" fmla="*/ 1384 w 1384"/>
              <a:gd name="T63" fmla="*/ 421 h 431"/>
              <a:gd name="T64" fmla="*/ 1374 w 1384"/>
              <a:gd name="T65" fmla="*/ 248 h 431"/>
              <a:gd name="T66" fmla="*/ 1082 w 1384"/>
              <a:gd name="T67" fmla="*/ 258 h 431"/>
              <a:gd name="T68" fmla="*/ 1092 w 1384"/>
              <a:gd name="T69" fmla="*/ 431 h 431"/>
              <a:gd name="T70" fmla="*/ 1384 w 1384"/>
              <a:gd name="T71" fmla="*/ 421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384" h="431">
                <a:moveTo>
                  <a:pt x="292" y="183"/>
                </a:moveTo>
                <a:cubicBezTo>
                  <a:pt x="10" y="183"/>
                  <a:pt x="10" y="183"/>
                  <a:pt x="10" y="183"/>
                </a:cubicBezTo>
                <a:cubicBezTo>
                  <a:pt x="4" y="183"/>
                  <a:pt x="0" y="179"/>
                  <a:pt x="0" y="173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5"/>
                  <a:pt x="4" y="0"/>
                  <a:pt x="10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97" y="0"/>
                  <a:pt x="302" y="5"/>
                  <a:pt x="302" y="10"/>
                </a:cubicBezTo>
                <a:cubicBezTo>
                  <a:pt x="302" y="173"/>
                  <a:pt x="302" y="173"/>
                  <a:pt x="302" y="173"/>
                </a:cubicBezTo>
                <a:cubicBezTo>
                  <a:pt x="302" y="179"/>
                  <a:pt x="297" y="183"/>
                  <a:pt x="292" y="183"/>
                </a:cubicBezTo>
                <a:close/>
                <a:moveTo>
                  <a:pt x="662" y="173"/>
                </a:moveTo>
                <a:cubicBezTo>
                  <a:pt x="662" y="10"/>
                  <a:pt x="662" y="10"/>
                  <a:pt x="662" y="10"/>
                </a:cubicBezTo>
                <a:cubicBezTo>
                  <a:pt x="662" y="5"/>
                  <a:pt x="658" y="0"/>
                  <a:pt x="652" y="0"/>
                </a:cubicBezTo>
                <a:cubicBezTo>
                  <a:pt x="371" y="0"/>
                  <a:pt x="371" y="0"/>
                  <a:pt x="371" y="0"/>
                </a:cubicBezTo>
                <a:cubicBezTo>
                  <a:pt x="365" y="0"/>
                  <a:pt x="361" y="5"/>
                  <a:pt x="361" y="10"/>
                </a:cubicBezTo>
                <a:cubicBezTo>
                  <a:pt x="361" y="173"/>
                  <a:pt x="361" y="173"/>
                  <a:pt x="361" y="173"/>
                </a:cubicBezTo>
                <a:cubicBezTo>
                  <a:pt x="361" y="179"/>
                  <a:pt x="365" y="183"/>
                  <a:pt x="371" y="183"/>
                </a:cubicBezTo>
                <a:cubicBezTo>
                  <a:pt x="652" y="183"/>
                  <a:pt x="652" y="183"/>
                  <a:pt x="652" y="183"/>
                </a:cubicBezTo>
                <a:cubicBezTo>
                  <a:pt x="658" y="183"/>
                  <a:pt x="662" y="179"/>
                  <a:pt x="662" y="173"/>
                </a:cubicBezTo>
                <a:close/>
                <a:moveTo>
                  <a:pt x="1023" y="173"/>
                </a:moveTo>
                <a:cubicBezTo>
                  <a:pt x="1023" y="10"/>
                  <a:pt x="1023" y="10"/>
                  <a:pt x="1023" y="10"/>
                </a:cubicBezTo>
                <a:cubicBezTo>
                  <a:pt x="1023" y="5"/>
                  <a:pt x="1019" y="0"/>
                  <a:pt x="1013" y="0"/>
                </a:cubicBezTo>
                <a:cubicBezTo>
                  <a:pt x="732" y="0"/>
                  <a:pt x="732" y="0"/>
                  <a:pt x="732" y="0"/>
                </a:cubicBezTo>
                <a:cubicBezTo>
                  <a:pt x="726" y="0"/>
                  <a:pt x="722" y="5"/>
                  <a:pt x="722" y="10"/>
                </a:cubicBezTo>
                <a:cubicBezTo>
                  <a:pt x="722" y="173"/>
                  <a:pt x="722" y="173"/>
                  <a:pt x="722" y="173"/>
                </a:cubicBezTo>
                <a:cubicBezTo>
                  <a:pt x="722" y="179"/>
                  <a:pt x="726" y="183"/>
                  <a:pt x="732" y="183"/>
                </a:cubicBezTo>
                <a:cubicBezTo>
                  <a:pt x="1013" y="183"/>
                  <a:pt x="1013" y="183"/>
                  <a:pt x="1013" y="183"/>
                </a:cubicBezTo>
                <a:cubicBezTo>
                  <a:pt x="1019" y="183"/>
                  <a:pt x="1023" y="179"/>
                  <a:pt x="1023" y="173"/>
                </a:cubicBezTo>
                <a:close/>
                <a:moveTo>
                  <a:pt x="1384" y="173"/>
                </a:moveTo>
                <a:cubicBezTo>
                  <a:pt x="1384" y="10"/>
                  <a:pt x="1384" y="10"/>
                  <a:pt x="1384" y="10"/>
                </a:cubicBezTo>
                <a:cubicBezTo>
                  <a:pt x="1384" y="5"/>
                  <a:pt x="1380" y="0"/>
                  <a:pt x="1374" y="0"/>
                </a:cubicBezTo>
                <a:cubicBezTo>
                  <a:pt x="1092" y="0"/>
                  <a:pt x="1092" y="0"/>
                  <a:pt x="1092" y="0"/>
                </a:cubicBezTo>
                <a:cubicBezTo>
                  <a:pt x="1087" y="0"/>
                  <a:pt x="1082" y="5"/>
                  <a:pt x="1082" y="10"/>
                </a:cubicBezTo>
                <a:cubicBezTo>
                  <a:pt x="1082" y="173"/>
                  <a:pt x="1082" y="173"/>
                  <a:pt x="1082" y="173"/>
                </a:cubicBezTo>
                <a:cubicBezTo>
                  <a:pt x="1082" y="179"/>
                  <a:pt x="1087" y="183"/>
                  <a:pt x="1092" y="183"/>
                </a:cubicBezTo>
                <a:cubicBezTo>
                  <a:pt x="1374" y="183"/>
                  <a:pt x="1374" y="183"/>
                  <a:pt x="1374" y="183"/>
                </a:cubicBezTo>
                <a:cubicBezTo>
                  <a:pt x="1380" y="183"/>
                  <a:pt x="1384" y="179"/>
                  <a:pt x="1384" y="173"/>
                </a:cubicBezTo>
                <a:close/>
                <a:moveTo>
                  <a:pt x="302" y="421"/>
                </a:moveTo>
                <a:cubicBezTo>
                  <a:pt x="302" y="258"/>
                  <a:pt x="302" y="258"/>
                  <a:pt x="302" y="258"/>
                </a:cubicBezTo>
                <a:cubicBezTo>
                  <a:pt x="302" y="253"/>
                  <a:pt x="297" y="248"/>
                  <a:pt x="292" y="248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4" y="248"/>
                  <a:pt x="0" y="253"/>
                  <a:pt x="0" y="258"/>
                </a:cubicBezTo>
                <a:cubicBezTo>
                  <a:pt x="0" y="421"/>
                  <a:pt x="0" y="421"/>
                  <a:pt x="0" y="421"/>
                </a:cubicBezTo>
                <a:cubicBezTo>
                  <a:pt x="0" y="427"/>
                  <a:pt x="4" y="431"/>
                  <a:pt x="10" y="431"/>
                </a:cubicBezTo>
                <a:cubicBezTo>
                  <a:pt x="292" y="431"/>
                  <a:pt x="292" y="431"/>
                  <a:pt x="292" y="431"/>
                </a:cubicBezTo>
                <a:cubicBezTo>
                  <a:pt x="297" y="431"/>
                  <a:pt x="302" y="427"/>
                  <a:pt x="302" y="421"/>
                </a:cubicBezTo>
                <a:close/>
                <a:moveTo>
                  <a:pt x="662" y="421"/>
                </a:moveTo>
                <a:cubicBezTo>
                  <a:pt x="662" y="258"/>
                  <a:pt x="662" y="258"/>
                  <a:pt x="662" y="258"/>
                </a:cubicBezTo>
                <a:cubicBezTo>
                  <a:pt x="662" y="253"/>
                  <a:pt x="658" y="248"/>
                  <a:pt x="652" y="248"/>
                </a:cubicBezTo>
                <a:cubicBezTo>
                  <a:pt x="371" y="248"/>
                  <a:pt x="371" y="248"/>
                  <a:pt x="371" y="248"/>
                </a:cubicBezTo>
                <a:cubicBezTo>
                  <a:pt x="365" y="248"/>
                  <a:pt x="361" y="253"/>
                  <a:pt x="361" y="258"/>
                </a:cubicBezTo>
                <a:cubicBezTo>
                  <a:pt x="361" y="421"/>
                  <a:pt x="361" y="421"/>
                  <a:pt x="361" y="421"/>
                </a:cubicBezTo>
                <a:cubicBezTo>
                  <a:pt x="361" y="427"/>
                  <a:pt x="365" y="431"/>
                  <a:pt x="371" y="431"/>
                </a:cubicBezTo>
                <a:cubicBezTo>
                  <a:pt x="652" y="431"/>
                  <a:pt x="652" y="431"/>
                  <a:pt x="652" y="431"/>
                </a:cubicBezTo>
                <a:cubicBezTo>
                  <a:pt x="658" y="431"/>
                  <a:pt x="662" y="427"/>
                  <a:pt x="662" y="421"/>
                </a:cubicBezTo>
                <a:close/>
                <a:moveTo>
                  <a:pt x="1023" y="421"/>
                </a:moveTo>
                <a:cubicBezTo>
                  <a:pt x="1023" y="258"/>
                  <a:pt x="1023" y="258"/>
                  <a:pt x="1023" y="258"/>
                </a:cubicBezTo>
                <a:cubicBezTo>
                  <a:pt x="1023" y="253"/>
                  <a:pt x="1019" y="248"/>
                  <a:pt x="1013" y="248"/>
                </a:cubicBezTo>
                <a:cubicBezTo>
                  <a:pt x="732" y="248"/>
                  <a:pt x="732" y="248"/>
                  <a:pt x="732" y="248"/>
                </a:cubicBezTo>
                <a:cubicBezTo>
                  <a:pt x="726" y="248"/>
                  <a:pt x="722" y="253"/>
                  <a:pt x="722" y="258"/>
                </a:cubicBezTo>
                <a:cubicBezTo>
                  <a:pt x="722" y="421"/>
                  <a:pt x="722" y="421"/>
                  <a:pt x="722" y="421"/>
                </a:cubicBezTo>
                <a:cubicBezTo>
                  <a:pt x="722" y="427"/>
                  <a:pt x="726" y="431"/>
                  <a:pt x="732" y="431"/>
                </a:cubicBezTo>
                <a:cubicBezTo>
                  <a:pt x="1013" y="431"/>
                  <a:pt x="1013" y="431"/>
                  <a:pt x="1013" y="431"/>
                </a:cubicBezTo>
                <a:cubicBezTo>
                  <a:pt x="1019" y="431"/>
                  <a:pt x="1023" y="427"/>
                  <a:pt x="1023" y="421"/>
                </a:cubicBezTo>
                <a:close/>
                <a:moveTo>
                  <a:pt x="1384" y="421"/>
                </a:moveTo>
                <a:cubicBezTo>
                  <a:pt x="1384" y="258"/>
                  <a:pt x="1384" y="258"/>
                  <a:pt x="1384" y="258"/>
                </a:cubicBezTo>
                <a:cubicBezTo>
                  <a:pt x="1384" y="253"/>
                  <a:pt x="1380" y="248"/>
                  <a:pt x="1374" y="248"/>
                </a:cubicBezTo>
                <a:cubicBezTo>
                  <a:pt x="1092" y="248"/>
                  <a:pt x="1092" y="248"/>
                  <a:pt x="1092" y="248"/>
                </a:cubicBezTo>
                <a:cubicBezTo>
                  <a:pt x="1087" y="248"/>
                  <a:pt x="1082" y="253"/>
                  <a:pt x="1082" y="258"/>
                </a:cubicBezTo>
                <a:cubicBezTo>
                  <a:pt x="1082" y="421"/>
                  <a:pt x="1082" y="421"/>
                  <a:pt x="1082" y="421"/>
                </a:cubicBezTo>
                <a:cubicBezTo>
                  <a:pt x="1082" y="427"/>
                  <a:pt x="1087" y="431"/>
                  <a:pt x="1092" y="431"/>
                </a:cubicBezTo>
                <a:cubicBezTo>
                  <a:pt x="1374" y="431"/>
                  <a:pt x="1374" y="431"/>
                  <a:pt x="1374" y="431"/>
                </a:cubicBezTo>
                <a:cubicBezTo>
                  <a:pt x="1380" y="431"/>
                  <a:pt x="1384" y="427"/>
                  <a:pt x="1384" y="42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7" name="Freeform 16">
            <a:extLst>
              <a:ext uri="{FF2B5EF4-FFF2-40B4-BE49-F238E27FC236}">
                <a16:creationId xmlns:a16="http://schemas.microsoft.com/office/drawing/2014/main" id="{D5D864F2-D4FC-4684-89BF-B212682AA995}"/>
              </a:ext>
            </a:extLst>
          </p:cNvPr>
          <p:cNvSpPr>
            <a:spLocks noEditPoints="1"/>
          </p:cNvSpPr>
          <p:nvPr/>
        </p:nvSpPr>
        <p:spPr bwMode="auto">
          <a:xfrm>
            <a:off x="3468514" y="3818518"/>
            <a:ext cx="543000" cy="514200"/>
          </a:xfrm>
          <a:custGeom>
            <a:avLst/>
            <a:gdLst>
              <a:gd name="T0" fmla="*/ 1687 w 1932"/>
              <a:gd name="T1" fmla="*/ 15 h 1828"/>
              <a:gd name="T2" fmla="*/ 1735 w 1932"/>
              <a:gd name="T3" fmla="*/ 587 h 1828"/>
              <a:gd name="T4" fmla="*/ 1719 w 1932"/>
              <a:gd name="T5" fmla="*/ 604 h 1828"/>
              <a:gd name="T6" fmla="*/ 1417 w 1932"/>
              <a:gd name="T7" fmla="*/ 604 h 1828"/>
              <a:gd name="T8" fmla="*/ 1401 w 1932"/>
              <a:gd name="T9" fmla="*/ 587 h 1828"/>
              <a:gd name="T10" fmla="*/ 1449 w 1932"/>
              <a:gd name="T11" fmla="*/ 15 h 1828"/>
              <a:gd name="T12" fmla="*/ 1465 w 1932"/>
              <a:gd name="T13" fmla="*/ 0 h 1828"/>
              <a:gd name="T14" fmla="*/ 1671 w 1932"/>
              <a:gd name="T15" fmla="*/ 0 h 1828"/>
              <a:gd name="T16" fmla="*/ 1687 w 1932"/>
              <a:gd name="T17" fmla="*/ 15 h 1828"/>
              <a:gd name="T18" fmla="*/ 1932 w 1932"/>
              <a:gd name="T19" fmla="*/ 1706 h 1828"/>
              <a:gd name="T20" fmla="*/ 1932 w 1932"/>
              <a:gd name="T21" fmla="*/ 1806 h 1828"/>
              <a:gd name="T22" fmla="*/ 1910 w 1932"/>
              <a:gd name="T23" fmla="*/ 1828 h 1828"/>
              <a:gd name="T24" fmla="*/ 22 w 1932"/>
              <a:gd name="T25" fmla="*/ 1828 h 1828"/>
              <a:gd name="T26" fmla="*/ 0 w 1932"/>
              <a:gd name="T27" fmla="*/ 1806 h 1828"/>
              <a:gd name="T28" fmla="*/ 0 w 1932"/>
              <a:gd name="T29" fmla="*/ 1706 h 1828"/>
              <a:gd name="T30" fmla="*/ 22 w 1932"/>
              <a:gd name="T31" fmla="*/ 1684 h 1828"/>
              <a:gd name="T32" fmla="*/ 98 w 1932"/>
              <a:gd name="T33" fmla="*/ 1684 h 1828"/>
              <a:gd name="T34" fmla="*/ 98 w 1932"/>
              <a:gd name="T35" fmla="*/ 1647 h 1828"/>
              <a:gd name="T36" fmla="*/ 120 w 1932"/>
              <a:gd name="T37" fmla="*/ 1625 h 1828"/>
              <a:gd name="T38" fmla="*/ 1812 w 1932"/>
              <a:gd name="T39" fmla="*/ 1625 h 1828"/>
              <a:gd name="T40" fmla="*/ 1834 w 1932"/>
              <a:gd name="T41" fmla="*/ 1647 h 1828"/>
              <a:gd name="T42" fmla="*/ 1834 w 1932"/>
              <a:gd name="T43" fmla="*/ 1684 h 1828"/>
              <a:gd name="T44" fmla="*/ 1910 w 1932"/>
              <a:gd name="T45" fmla="*/ 1684 h 1828"/>
              <a:gd name="T46" fmla="*/ 1932 w 1932"/>
              <a:gd name="T47" fmla="*/ 1706 h 1828"/>
              <a:gd name="T48" fmla="*/ 1812 w 1932"/>
              <a:gd name="T49" fmla="*/ 670 h 1828"/>
              <a:gd name="T50" fmla="*/ 1790 w 1932"/>
              <a:gd name="T51" fmla="*/ 648 h 1828"/>
              <a:gd name="T52" fmla="*/ 1286 w 1932"/>
              <a:gd name="T53" fmla="*/ 648 h 1828"/>
              <a:gd name="T54" fmla="*/ 713 w 1932"/>
              <a:gd name="T55" fmla="*/ 459 h 1828"/>
              <a:gd name="T56" fmla="*/ 693 w 1932"/>
              <a:gd name="T57" fmla="*/ 462 h 1828"/>
              <a:gd name="T58" fmla="*/ 684 w 1932"/>
              <a:gd name="T59" fmla="*/ 480 h 1828"/>
              <a:gd name="T60" fmla="*/ 684 w 1932"/>
              <a:gd name="T61" fmla="*/ 638 h 1828"/>
              <a:gd name="T62" fmla="*/ 147 w 1932"/>
              <a:gd name="T63" fmla="*/ 459 h 1828"/>
              <a:gd name="T64" fmla="*/ 127 w 1932"/>
              <a:gd name="T65" fmla="*/ 462 h 1828"/>
              <a:gd name="T66" fmla="*/ 118 w 1932"/>
              <a:gd name="T67" fmla="*/ 480 h 1828"/>
              <a:gd name="T68" fmla="*/ 118 w 1932"/>
              <a:gd name="T69" fmla="*/ 1581 h 1828"/>
              <a:gd name="T70" fmla="*/ 162 w 1932"/>
              <a:gd name="T71" fmla="*/ 1581 h 1828"/>
              <a:gd name="T72" fmla="*/ 162 w 1932"/>
              <a:gd name="T73" fmla="*/ 510 h 1828"/>
              <a:gd name="T74" fmla="*/ 699 w 1932"/>
              <a:gd name="T75" fmla="*/ 689 h 1828"/>
              <a:gd name="T76" fmla="*/ 719 w 1932"/>
              <a:gd name="T77" fmla="*/ 686 h 1828"/>
              <a:gd name="T78" fmla="*/ 728 w 1932"/>
              <a:gd name="T79" fmla="*/ 668 h 1828"/>
              <a:gd name="T80" fmla="*/ 728 w 1932"/>
              <a:gd name="T81" fmla="*/ 510 h 1828"/>
              <a:gd name="T82" fmla="*/ 1275 w 1932"/>
              <a:gd name="T83" fmla="*/ 691 h 1828"/>
              <a:gd name="T84" fmla="*/ 1282 w 1932"/>
              <a:gd name="T85" fmla="*/ 692 h 1828"/>
              <a:gd name="T86" fmla="*/ 1768 w 1932"/>
              <a:gd name="T87" fmla="*/ 692 h 1828"/>
              <a:gd name="T88" fmla="*/ 1768 w 1932"/>
              <a:gd name="T89" fmla="*/ 1581 h 1828"/>
              <a:gd name="T90" fmla="*/ 1812 w 1932"/>
              <a:gd name="T91" fmla="*/ 1581 h 1828"/>
              <a:gd name="T92" fmla="*/ 1812 w 1932"/>
              <a:gd name="T93" fmla="*/ 670 h 1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932" h="1828">
                <a:moveTo>
                  <a:pt x="1687" y="15"/>
                </a:moveTo>
                <a:cubicBezTo>
                  <a:pt x="1735" y="587"/>
                  <a:pt x="1735" y="587"/>
                  <a:pt x="1735" y="587"/>
                </a:cubicBezTo>
                <a:cubicBezTo>
                  <a:pt x="1736" y="596"/>
                  <a:pt x="1728" y="604"/>
                  <a:pt x="1719" y="604"/>
                </a:cubicBezTo>
                <a:cubicBezTo>
                  <a:pt x="1417" y="604"/>
                  <a:pt x="1417" y="604"/>
                  <a:pt x="1417" y="604"/>
                </a:cubicBezTo>
                <a:cubicBezTo>
                  <a:pt x="1407" y="604"/>
                  <a:pt x="1400" y="596"/>
                  <a:pt x="1401" y="587"/>
                </a:cubicBezTo>
                <a:cubicBezTo>
                  <a:pt x="1449" y="15"/>
                  <a:pt x="1449" y="15"/>
                  <a:pt x="1449" y="15"/>
                </a:cubicBezTo>
                <a:cubicBezTo>
                  <a:pt x="1450" y="6"/>
                  <a:pt x="1457" y="0"/>
                  <a:pt x="1465" y="0"/>
                </a:cubicBezTo>
                <a:cubicBezTo>
                  <a:pt x="1671" y="0"/>
                  <a:pt x="1671" y="0"/>
                  <a:pt x="1671" y="0"/>
                </a:cubicBezTo>
                <a:cubicBezTo>
                  <a:pt x="1679" y="0"/>
                  <a:pt x="1686" y="6"/>
                  <a:pt x="1687" y="15"/>
                </a:cubicBezTo>
                <a:close/>
                <a:moveTo>
                  <a:pt x="1932" y="1706"/>
                </a:moveTo>
                <a:cubicBezTo>
                  <a:pt x="1932" y="1806"/>
                  <a:pt x="1932" y="1806"/>
                  <a:pt x="1932" y="1806"/>
                </a:cubicBezTo>
                <a:cubicBezTo>
                  <a:pt x="1932" y="1818"/>
                  <a:pt x="1923" y="1828"/>
                  <a:pt x="1910" y="1828"/>
                </a:cubicBezTo>
                <a:cubicBezTo>
                  <a:pt x="22" y="1828"/>
                  <a:pt x="22" y="1828"/>
                  <a:pt x="22" y="1828"/>
                </a:cubicBezTo>
                <a:cubicBezTo>
                  <a:pt x="9" y="1828"/>
                  <a:pt x="0" y="1818"/>
                  <a:pt x="0" y="1806"/>
                </a:cubicBezTo>
                <a:cubicBezTo>
                  <a:pt x="0" y="1706"/>
                  <a:pt x="0" y="1706"/>
                  <a:pt x="0" y="1706"/>
                </a:cubicBezTo>
                <a:cubicBezTo>
                  <a:pt x="0" y="1694"/>
                  <a:pt x="9" y="1684"/>
                  <a:pt x="22" y="1684"/>
                </a:cubicBezTo>
                <a:cubicBezTo>
                  <a:pt x="98" y="1684"/>
                  <a:pt x="98" y="1684"/>
                  <a:pt x="98" y="1684"/>
                </a:cubicBezTo>
                <a:cubicBezTo>
                  <a:pt x="98" y="1647"/>
                  <a:pt x="98" y="1647"/>
                  <a:pt x="98" y="1647"/>
                </a:cubicBezTo>
                <a:cubicBezTo>
                  <a:pt x="98" y="1635"/>
                  <a:pt x="108" y="1625"/>
                  <a:pt x="120" y="1625"/>
                </a:cubicBezTo>
                <a:cubicBezTo>
                  <a:pt x="1812" y="1625"/>
                  <a:pt x="1812" y="1625"/>
                  <a:pt x="1812" y="1625"/>
                </a:cubicBezTo>
                <a:cubicBezTo>
                  <a:pt x="1824" y="1625"/>
                  <a:pt x="1834" y="1635"/>
                  <a:pt x="1834" y="1647"/>
                </a:cubicBezTo>
                <a:cubicBezTo>
                  <a:pt x="1834" y="1684"/>
                  <a:pt x="1834" y="1684"/>
                  <a:pt x="1834" y="1684"/>
                </a:cubicBezTo>
                <a:cubicBezTo>
                  <a:pt x="1910" y="1684"/>
                  <a:pt x="1910" y="1684"/>
                  <a:pt x="1910" y="1684"/>
                </a:cubicBezTo>
                <a:cubicBezTo>
                  <a:pt x="1923" y="1684"/>
                  <a:pt x="1932" y="1694"/>
                  <a:pt x="1932" y="1706"/>
                </a:cubicBezTo>
                <a:close/>
                <a:moveTo>
                  <a:pt x="1812" y="670"/>
                </a:moveTo>
                <a:cubicBezTo>
                  <a:pt x="1812" y="658"/>
                  <a:pt x="1802" y="648"/>
                  <a:pt x="1790" y="648"/>
                </a:cubicBezTo>
                <a:cubicBezTo>
                  <a:pt x="1286" y="648"/>
                  <a:pt x="1286" y="648"/>
                  <a:pt x="1286" y="648"/>
                </a:cubicBezTo>
                <a:cubicBezTo>
                  <a:pt x="713" y="459"/>
                  <a:pt x="713" y="459"/>
                  <a:pt x="713" y="459"/>
                </a:cubicBezTo>
                <a:cubicBezTo>
                  <a:pt x="706" y="457"/>
                  <a:pt x="699" y="458"/>
                  <a:pt x="693" y="462"/>
                </a:cubicBezTo>
                <a:cubicBezTo>
                  <a:pt x="687" y="466"/>
                  <a:pt x="684" y="473"/>
                  <a:pt x="684" y="480"/>
                </a:cubicBezTo>
                <a:cubicBezTo>
                  <a:pt x="684" y="638"/>
                  <a:pt x="684" y="638"/>
                  <a:pt x="684" y="638"/>
                </a:cubicBezTo>
                <a:cubicBezTo>
                  <a:pt x="147" y="459"/>
                  <a:pt x="147" y="459"/>
                  <a:pt x="147" y="459"/>
                </a:cubicBezTo>
                <a:cubicBezTo>
                  <a:pt x="140" y="457"/>
                  <a:pt x="133" y="458"/>
                  <a:pt x="127" y="462"/>
                </a:cubicBezTo>
                <a:cubicBezTo>
                  <a:pt x="121" y="466"/>
                  <a:pt x="118" y="473"/>
                  <a:pt x="118" y="480"/>
                </a:cubicBezTo>
                <a:cubicBezTo>
                  <a:pt x="118" y="1581"/>
                  <a:pt x="118" y="1581"/>
                  <a:pt x="118" y="1581"/>
                </a:cubicBezTo>
                <a:cubicBezTo>
                  <a:pt x="162" y="1581"/>
                  <a:pt x="162" y="1581"/>
                  <a:pt x="162" y="1581"/>
                </a:cubicBezTo>
                <a:cubicBezTo>
                  <a:pt x="162" y="510"/>
                  <a:pt x="162" y="510"/>
                  <a:pt x="162" y="510"/>
                </a:cubicBezTo>
                <a:cubicBezTo>
                  <a:pt x="699" y="689"/>
                  <a:pt x="699" y="689"/>
                  <a:pt x="699" y="689"/>
                </a:cubicBezTo>
                <a:cubicBezTo>
                  <a:pt x="706" y="691"/>
                  <a:pt x="713" y="690"/>
                  <a:pt x="719" y="686"/>
                </a:cubicBezTo>
                <a:cubicBezTo>
                  <a:pt x="725" y="682"/>
                  <a:pt x="728" y="675"/>
                  <a:pt x="728" y="668"/>
                </a:cubicBezTo>
                <a:cubicBezTo>
                  <a:pt x="728" y="510"/>
                  <a:pt x="728" y="510"/>
                  <a:pt x="728" y="510"/>
                </a:cubicBezTo>
                <a:cubicBezTo>
                  <a:pt x="1275" y="691"/>
                  <a:pt x="1275" y="691"/>
                  <a:pt x="1275" y="691"/>
                </a:cubicBezTo>
                <a:cubicBezTo>
                  <a:pt x="1277" y="692"/>
                  <a:pt x="1280" y="692"/>
                  <a:pt x="1282" y="692"/>
                </a:cubicBezTo>
                <a:cubicBezTo>
                  <a:pt x="1768" y="692"/>
                  <a:pt x="1768" y="692"/>
                  <a:pt x="1768" y="692"/>
                </a:cubicBezTo>
                <a:cubicBezTo>
                  <a:pt x="1768" y="1581"/>
                  <a:pt x="1768" y="1581"/>
                  <a:pt x="1768" y="1581"/>
                </a:cubicBezTo>
                <a:cubicBezTo>
                  <a:pt x="1812" y="1581"/>
                  <a:pt x="1812" y="1581"/>
                  <a:pt x="1812" y="1581"/>
                </a:cubicBezTo>
                <a:lnTo>
                  <a:pt x="1812" y="670"/>
                </a:lnTo>
                <a:close/>
              </a:path>
            </a:pathLst>
          </a:custGeom>
          <a:solidFill>
            <a:srgbClr val="98A6CC"/>
          </a:solidFill>
          <a:ln>
            <a:noFill/>
          </a:ln>
          <a:extLst/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6" name="Rectangle 15"/>
          <p:cNvSpPr/>
          <p:nvPr/>
        </p:nvSpPr>
        <p:spPr>
          <a:xfrm>
            <a:off x="3204719" y="4367804"/>
            <a:ext cx="1069987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Производители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sp>
        <p:nvSpPr>
          <p:cNvPr id="18" name="AutoShape 3"/>
          <p:cNvSpPr>
            <a:spLocks noChangeAspect="1" noChangeArrowheads="1" noTextEdit="1"/>
          </p:cNvSpPr>
          <p:nvPr/>
        </p:nvSpPr>
        <p:spPr bwMode="auto">
          <a:xfrm>
            <a:off x="7657631" y="3777379"/>
            <a:ext cx="647366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9" name="Freeform 18"/>
          <p:cNvSpPr>
            <a:spLocks noEditPoints="1"/>
          </p:cNvSpPr>
          <p:nvPr/>
        </p:nvSpPr>
        <p:spPr bwMode="auto">
          <a:xfrm>
            <a:off x="7697854" y="3855924"/>
            <a:ext cx="563753" cy="489009"/>
          </a:xfrm>
          <a:custGeom>
            <a:avLst/>
            <a:gdLst>
              <a:gd name="T0" fmla="*/ 199 w 870"/>
              <a:gd name="T1" fmla="*/ 98 h 754"/>
              <a:gd name="T2" fmla="*/ 210 w 870"/>
              <a:gd name="T3" fmla="*/ 142 h 754"/>
              <a:gd name="T4" fmla="*/ 360 w 870"/>
              <a:gd name="T5" fmla="*/ 189 h 754"/>
              <a:gd name="T6" fmla="*/ 217 w 870"/>
              <a:gd name="T7" fmla="*/ 199 h 754"/>
              <a:gd name="T8" fmla="*/ 356 w 870"/>
              <a:gd name="T9" fmla="*/ 254 h 754"/>
              <a:gd name="T10" fmla="*/ 356 w 870"/>
              <a:gd name="T11" fmla="*/ 306 h 754"/>
              <a:gd name="T12" fmla="*/ 246 w 870"/>
              <a:gd name="T13" fmla="*/ 362 h 754"/>
              <a:gd name="T14" fmla="*/ 360 w 870"/>
              <a:gd name="T15" fmla="*/ 371 h 754"/>
              <a:gd name="T16" fmla="*/ 261 w 870"/>
              <a:gd name="T17" fmla="*/ 418 h 754"/>
              <a:gd name="T18" fmla="*/ 263 w 870"/>
              <a:gd name="T19" fmla="*/ 465 h 754"/>
              <a:gd name="T20" fmla="*/ 814 w 870"/>
              <a:gd name="T21" fmla="*/ 465 h 754"/>
              <a:gd name="T22" fmla="*/ 721 w 870"/>
              <a:gd name="T23" fmla="*/ 418 h 754"/>
              <a:gd name="T24" fmla="*/ 721 w 870"/>
              <a:gd name="T25" fmla="*/ 366 h 754"/>
              <a:gd name="T26" fmla="*/ 838 w 870"/>
              <a:gd name="T27" fmla="*/ 311 h 754"/>
              <a:gd name="T28" fmla="*/ 716 w 870"/>
              <a:gd name="T29" fmla="*/ 301 h 754"/>
              <a:gd name="T30" fmla="*/ 843 w 870"/>
              <a:gd name="T31" fmla="*/ 254 h 754"/>
              <a:gd name="T32" fmla="*/ 850 w 870"/>
              <a:gd name="T33" fmla="*/ 194 h 754"/>
              <a:gd name="T34" fmla="*/ 716 w 870"/>
              <a:gd name="T35" fmla="*/ 147 h 754"/>
              <a:gd name="T36" fmla="*/ 864 w 870"/>
              <a:gd name="T37" fmla="*/ 138 h 754"/>
              <a:gd name="T38" fmla="*/ 856 w 870"/>
              <a:gd name="T39" fmla="*/ 84 h 754"/>
              <a:gd name="T40" fmla="*/ 405 w 870"/>
              <a:gd name="T41" fmla="*/ 418 h 754"/>
              <a:gd name="T42" fmla="*/ 405 w 870"/>
              <a:gd name="T43" fmla="*/ 366 h 754"/>
              <a:gd name="T44" fmla="*/ 518 w 870"/>
              <a:gd name="T45" fmla="*/ 413 h 754"/>
              <a:gd name="T46" fmla="*/ 405 w 870"/>
              <a:gd name="T47" fmla="*/ 306 h 754"/>
              <a:gd name="T48" fmla="*/ 405 w 870"/>
              <a:gd name="T49" fmla="*/ 254 h 754"/>
              <a:gd name="T50" fmla="*/ 518 w 870"/>
              <a:gd name="T51" fmla="*/ 301 h 754"/>
              <a:gd name="T52" fmla="*/ 405 w 870"/>
              <a:gd name="T53" fmla="*/ 194 h 754"/>
              <a:gd name="T54" fmla="*/ 405 w 870"/>
              <a:gd name="T55" fmla="*/ 142 h 754"/>
              <a:gd name="T56" fmla="*/ 518 w 870"/>
              <a:gd name="T57" fmla="*/ 189 h 754"/>
              <a:gd name="T58" fmla="*/ 563 w 870"/>
              <a:gd name="T59" fmla="*/ 418 h 754"/>
              <a:gd name="T60" fmla="*/ 563 w 870"/>
              <a:gd name="T61" fmla="*/ 366 h 754"/>
              <a:gd name="T62" fmla="*/ 676 w 870"/>
              <a:gd name="T63" fmla="*/ 413 h 754"/>
              <a:gd name="T64" fmla="*/ 563 w 870"/>
              <a:gd name="T65" fmla="*/ 306 h 754"/>
              <a:gd name="T66" fmla="*/ 563 w 870"/>
              <a:gd name="T67" fmla="*/ 254 h 754"/>
              <a:gd name="T68" fmla="*/ 676 w 870"/>
              <a:gd name="T69" fmla="*/ 301 h 754"/>
              <a:gd name="T70" fmla="*/ 563 w 870"/>
              <a:gd name="T71" fmla="*/ 194 h 754"/>
              <a:gd name="T72" fmla="*/ 563 w 870"/>
              <a:gd name="T73" fmla="*/ 142 h 754"/>
              <a:gd name="T74" fmla="*/ 676 w 870"/>
              <a:gd name="T75" fmla="*/ 189 h 754"/>
              <a:gd name="T76" fmla="*/ 224 w 870"/>
              <a:gd name="T77" fmla="*/ 558 h 754"/>
              <a:gd name="T78" fmla="*/ 22 w 870"/>
              <a:gd name="T79" fmla="*/ 44 h 754"/>
              <a:gd name="T80" fmla="*/ 135 w 870"/>
              <a:gd name="T81" fmla="*/ 0 h 754"/>
              <a:gd name="T82" fmla="*/ 737 w 870"/>
              <a:gd name="T83" fmla="*/ 514 h 754"/>
              <a:gd name="T84" fmla="*/ 677 w 870"/>
              <a:gd name="T85" fmla="*/ 754 h 754"/>
              <a:gd name="T86" fmla="*/ 754 w 870"/>
              <a:gd name="T87" fmla="*/ 677 h 754"/>
              <a:gd name="T88" fmla="*/ 205 w 870"/>
              <a:gd name="T89" fmla="*/ 677 h 7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70" h="754">
                <a:moveTo>
                  <a:pt x="856" y="84"/>
                </a:moveTo>
                <a:cubicBezTo>
                  <a:pt x="213" y="84"/>
                  <a:pt x="213" y="84"/>
                  <a:pt x="213" y="84"/>
                </a:cubicBezTo>
                <a:cubicBezTo>
                  <a:pt x="205" y="84"/>
                  <a:pt x="199" y="91"/>
                  <a:pt x="199" y="98"/>
                </a:cubicBezTo>
                <a:cubicBezTo>
                  <a:pt x="199" y="99"/>
                  <a:pt x="199" y="99"/>
                  <a:pt x="199" y="100"/>
                </a:cubicBezTo>
                <a:cubicBezTo>
                  <a:pt x="205" y="138"/>
                  <a:pt x="205" y="138"/>
                  <a:pt x="205" y="138"/>
                </a:cubicBezTo>
                <a:cubicBezTo>
                  <a:pt x="206" y="140"/>
                  <a:pt x="208" y="142"/>
                  <a:pt x="210" y="142"/>
                </a:cubicBezTo>
                <a:cubicBezTo>
                  <a:pt x="356" y="142"/>
                  <a:pt x="356" y="142"/>
                  <a:pt x="356" y="142"/>
                </a:cubicBezTo>
                <a:cubicBezTo>
                  <a:pt x="358" y="142"/>
                  <a:pt x="360" y="144"/>
                  <a:pt x="360" y="147"/>
                </a:cubicBezTo>
                <a:cubicBezTo>
                  <a:pt x="360" y="189"/>
                  <a:pt x="360" y="189"/>
                  <a:pt x="360" y="189"/>
                </a:cubicBezTo>
                <a:cubicBezTo>
                  <a:pt x="360" y="191"/>
                  <a:pt x="358" y="194"/>
                  <a:pt x="356" y="194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18" y="194"/>
                  <a:pt x="216" y="196"/>
                  <a:pt x="217" y="199"/>
                </a:cubicBezTo>
                <a:cubicBezTo>
                  <a:pt x="226" y="250"/>
                  <a:pt x="226" y="250"/>
                  <a:pt x="226" y="250"/>
                </a:cubicBezTo>
                <a:cubicBezTo>
                  <a:pt x="226" y="252"/>
                  <a:pt x="228" y="254"/>
                  <a:pt x="231" y="254"/>
                </a:cubicBezTo>
                <a:cubicBezTo>
                  <a:pt x="356" y="254"/>
                  <a:pt x="356" y="254"/>
                  <a:pt x="356" y="254"/>
                </a:cubicBezTo>
                <a:cubicBezTo>
                  <a:pt x="358" y="254"/>
                  <a:pt x="360" y="256"/>
                  <a:pt x="360" y="259"/>
                </a:cubicBezTo>
                <a:cubicBezTo>
                  <a:pt x="360" y="301"/>
                  <a:pt x="360" y="301"/>
                  <a:pt x="360" y="301"/>
                </a:cubicBezTo>
                <a:cubicBezTo>
                  <a:pt x="360" y="304"/>
                  <a:pt x="358" y="306"/>
                  <a:pt x="356" y="306"/>
                </a:cubicBezTo>
                <a:cubicBezTo>
                  <a:pt x="241" y="306"/>
                  <a:pt x="241" y="306"/>
                  <a:pt x="241" y="306"/>
                </a:cubicBezTo>
                <a:cubicBezTo>
                  <a:pt x="239" y="306"/>
                  <a:pt x="236" y="309"/>
                  <a:pt x="237" y="311"/>
                </a:cubicBezTo>
                <a:cubicBezTo>
                  <a:pt x="246" y="362"/>
                  <a:pt x="246" y="362"/>
                  <a:pt x="246" y="362"/>
                </a:cubicBezTo>
                <a:cubicBezTo>
                  <a:pt x="246" y="364"/>
                  <a:pt x="248" y="366"/>
                  <a:pt x="251" y="366"/>
                </a:cubicBezTo>
                <a:cubicBezTo>
                  <a:pt x="356" y="366"/>
                  <a:pt x="356" y="366"/>
                  <a:pt x="356" y="366"/>
                </a:cubicBezTo>
                <a:cubicBezTo>
                  <a:pt x="358" y="366"/>
                  <a:pt x="360" y="368"/>
                  <a:pt x="360" y="371"/>
                </a:cubicBezTo>
                <a:cubicBezTo>
                  <a:pt x="360" y="413"/>
                  <a:pt x="360" y="413"/>
                  <a:pt x="360" y="413"/>
                </a:cubicBezTo>
                <a:cubicBezTo>
                  <a:pt x="360" y="416"/>
                  <a:pt x="358" y="418"/>
                  <a:pt x="356" y="418"/>
                </a:cubicBezTo>
                <a:cubicBezTo>
                  <a:pt x="261" y="418"/>
                  <a:pt x="261" y="418"/>
                  <a:pt x="261" y="418"/>
                </a:cubicBezTo>
                <a:cubicBezTo>
                  <a:pt x="257" y="418"/>
                  <a:pt x="255" y="421"/>
                  <a:pt x="256" y="424"/>
                </a:cubicBezTo>
                <a:cubicBezTo>
                  <a:pt x="263" y="464"/>
                  <a:pt x="263" y="464"/>
                  <a:pt x="263" y="464"/>
                </a:cubicBezTo>
                <a:cubicBezTo>
                  <a:pt x="263" y="465"/>
                  <a:pt x="263" y="465"/>
                  <a:pt x="263" y="465"/>
                </a:cubicBezTo>
                <a:cubicBezTo>
                  <a:pt x="263" y="473"/>
                  <a:pt x="270" y="479"/>
                  <a:pt x="277" y="479"/>
                </a:cubicBezTo>
                <a:cubicBezTo>
                  <a:pt x="800" y="479"/>
                  <a:pt x="800" y="479"/>
                  <a:pt x="800" y="479"/>
                </a:cubicBezTo>
                <a:cubicBezTo>
                  <a:pt x="808" y="479"/>
                  <a:pt x="814" y="473"/>
                  <a:pt x="814" y="465"/>
                </a:cubicBezTo>
                <a:cubicBezTo>
                  <a:pt x="821" y="424"/>
                  <a:pt x="821" y="424"/>
                  <a:pt x="821" y="424"/>
                </a:cubicBezTo>
                <a:cubicBezTo>
                  <a:pt x="821" y="421"/>
                  <a:pt x="819" y="418"/>
                  <a:pt x="816" y="418"/>
                </a:cubicBezTo>
                <a:cubicBezTo>
                  <a:pt x="721" y="418"/>
                  <a:pt x="721" y="418"/>
                  <a:pt x="721" y="418"/>
                </a:cubicBezTo>
                <a:cubicBezTo>
                  <a:pt x="718" y="418"/>
                  <a:pt x="716" y="416"/>
                  <a:pt x="716" y="413"/>
                </a:cubicBezTo>
                <a:cubicBezTo>
                  <a:pt x="716" y="371"/>
                  <a:pt x="716" y="371"/>
                  <a:pt x="716" y="371"/>
                </a:cubicBezTo>
                <a:cubicBezTo>
                  <a:pt x="716" y="368"/>
                  <a:pt x="718" y="366"/>
                  <a:pt x="721" y="366"/>
                </a:cubicBezTo>
                <a:cubicBezTo>
                  <a:pt x="826" y="366"/>
                  <a:pt x="826" y="366"/>
                  <a:pt x="826" y="366"/>
                </a:cubicBezTo>
                <a:cubicBezTo>
                  <a:pt x="828" y="366"/>
                  <a:pt x="830" y="364"/>
                  <a:pt x="831" y="362"/>
                </a:cubicBezTo>
                <a:cubicBezTo>
                  <a:pt x="838" y="311"/>
                  <a:pt x="838" y="311"/>
                  <a:pt x="838" y="311"/>
                </a:cubicBezTo>
                <a:cubicBezTo>
                  <a:pt x="839" y="309"/>
                  <a:pt x="836" y="306"/>
                  <a:pt x="834" y="306"/>
                </a:cubicBezTo>
                <a:cubicBezTo>
                  <a:pt x="721" y="306"/>
                  <a:pt x="721" y="306"/>
                  <a:pt x="721" y="306"/>
                </a:cubicBezTo>
                <a:cubicBezTo>
                  <a:pt x="718" y="306"/>
                  <a:pt x="716" y="304"/>
                  <a:pt x="716" y="301"/>
                </a:cubicBezTo>
                <a:cubicBezTo>
                  <a:pt x="716" y="259"/>
                  <a:pt x="716" y="259"/>
                  <a:pt x="716" y="259"/>
                </a:cubicBezTo>
                <a:cubicBezTo>
                  <a:pt x="716" y="256"/>
                  <a:pt x="718" y="254"/>
                  <a:pt x="721" y="254"/>
                </a:cubicBezTo>
                <a:cubicBezTo>
                  <a:pt x="843" y="254"/>
                  <a:pt x="843" y="254"/>
                  <a:pt x="843" y="254"/>
                </a:cubicBezTo>
                <a:cubicBezTo>
                  <a:pt x="845" y="254"/>
                  <a:pt x="847" y="252"/>
                  <a:pt x="848" y="250"/>
                </a:cubicBezTo>
                <a:cubicBezTo>
                  <a:pt x="855" y="199"/>
                  <a:pt x="855" y="199"/>
                  <a:pt x="855" y="199"/>
                </a:cubicBezTo>
                <a:cubicBezTo>
                  <a:pt x="856" y="196"/>
                  <a:pt x="853" y="194"/>
                  <a:pt x="850" y="194"/>
                </a:cubicBezTo>
                <a:cubicBezTo>
                  <a:pt x="721" y="194"/>
                  <a:pt x="721" y="194"/>
                  <a:pt x="721" y="194"/>
                </a:cubicBezTo>
                <a:cubicBezTo>
                  <a:pt x="718" y="194"/>
                  <a:pt x="716" y="191"/>
                  <a:pt x="716" y="189"/>
                </a:cubicBezTo>
                <a:cubicBezTo>
                  <a:pt x="716" y="147"/>
                  <a:pt x="716" y="147"/>
                  <a:pt x="716" y="147"/>
                </a:cubicBezTo>
                <a:cubicBezTo>
                  <a:pt x="716" y="144"/>
                  <a:pt x="718" y="142"/>
                  <a:pt x="721" y="142"/>
                </a:cubicBezTo>
                <a:cubicBezTo>
                  <a:pt x="860" y="142"/>
                  <a:pt x="860" y="142"/>
                  <a:pt x="860" y="142"/>
                </a:cubicBezTo>
                <a:cubicBezTo>
                  <a:pt x="862" y="142"/>
                  <a:pt x="864" y="140"/>
                  <a:pt x="864" y="138"/>
                </a:cubicBezTo>
                <a:cubicBezTo>
                  <a:pt x="870" y="99"/>
                  <a:pt x="870" y="99"/>
                  <a:pt x="870" y="99"/>
                </a:cubicBezTo>
                <a:cubicBezTo>
                  <a:pt x="870" y="99"/>
                  <a:pt x="870" y="99"/>
                  <a:pt x="870" y="98"/>
                </a:cubicBezTo>
                <a:cubicBezTo>
                  <a:pt x="870" y="91"/>
                  <a:pt x="863" y="84"/>
                  <a:pt x="856" y="84"/>
                </a:cubicBezTo>
                <a:close/>
                <a:moveTo>
                  <a:pt x="518" y="413"/>
                </a:moveTo>
                <a:cubicBezTo>
                  <a:pt x="518" y="416"/>
                  <a:pt x="516" y="418"/>
                  <a:pt x="513" y="418"/>
                </a:cubicBezTo>
                <a:cubicBezTo>
                  <a:pt x="405" y="418"/>
                  <a:pt x="405" y="418"/>
                  <a:pt x="405" y="418"/>
                </a:cubicBezTo>
                <a:cubicBezTo>
                  <a:pt x="403" y="418"/>
                  <a:pt x="400" y="416"/>
                  <a:pt x="400" y="413"/>
                </a:cubicBezTo>
                <a:cubicBezTo>
                  <a:pt x="400" y="371"/>
                  <a:pt x="400" y="371"/>
                  <a:pt x="400" y="371"/>
                </a:cubicBezTo>
                <a:cubicBezTo>
                  <a:pt x="400" y="368"/>
                  <a:pt x="403" y="366"/>
                  <a:pt x="405" y="366"/>
                </a:cubicBezTo>
                <a:cubicBezTo>
                  <a:pt x="513" y="366"/>
                  <a:pt x="513" y="366"/>
                  <a:pt x="513" y="366"/>
                </a:cubicBezTo>
                <a:cubicBezTo>
                  <a:pt x="516" y="366"/>
                  <a:pt x="518" y="368"/>
                  <a:pt x="518" y="371"/>
                </a:cubicBezTo>
                <a:cubicBezTo>
                  <a:pt x="518" y="413"/>
                  <a:pt x="518" y="413"/>
                  <a:pt x="518" y="413"/>
                </a:cubicBezTo>
                <a:close/>
                <a:moveTo>
                  <a:pt x="518" y="301"/>
                </a:moveTo>
                <a:cubicBezTo>
                  <a:pt x="518" y="304"/>
                  <a:pt x="516" y="306"/>
                  <a:pt x="513" y="306"/>
                </a:cubicBezTo>
                <a:cubicBezTo>
                  <a:pt x="405" y="306"/>
                  <a:pt x="405" y="306"/>
                  <a:pt x="405" y="306"/>
                </a:cubicBezTo>
                <a:cubicBezTo>
                  <a:pt x="403" y="306"/>
                  <a:pt x="400" y="304"/>
                  <a:pt x="400" y="301"/>
                </a:cubicBezTo>
                <a:cubicBezTo>
                  <a:pt x="400" y="259"/>
                  <a:pt x="400" y="259"/>
                  <a:pt x="400" y="259"/>
                </a:cubicBezTo>
                <a:cubicBezTo>
                  <a:pt x="400" y="256"/>
                  <a:pt x="403" y="254"/>
                  <a:pt x="405" y="254"/>
                </a:cubicBezTo>
                <a:cubicBezTo>
                  <a:pt x="513" y="254"/>
                  <a:pt x="513" y="254"/>
                  <a:pt x="513" y="254"/>
                </a:cubicBezTo>
                <a:cubicBezTo>
                  <a:pt x="516" y="254"/>
                  <a:pt x="518" y="256"/>
                  <a:pt x="518" y="259"/>
                </a:cubicBezTo>
                <a:cubicBezTo>
                  <a:pt x="518" y="301"/>
                  <a:pt x="518" y="301"/>
                  <a:pt x="518" y="301"/>
                </a:cubicBezTo>
                <a:close/>
                <a:moveTo>
                  <a:pt x="518" y="189"/>
                </a:moveTo>
                <a:cubicBezTo>
                  <a:pt x="518" y="191"/>
                  <a:pt x="516" y="194"/>
                  <a:pt x="513" y="194"/>
                </a:cubicBezTo>
                <a:cubicBezTo>
                  <a:pt x="405" y="194"/>
                  <a:pt x="405" y="194"/>
                  <a:pt x="405" y="194"/>
                </a:cubicBezTo>
                <a:cubicBezTo>
                  <a:pt x="403" y="194"/>
                  <a:pt x="400" y="191"/>
                  <a:pt x="400" y="189"/>
                </a:cubicBezTo>
                <a:cubicBezTo>
                  <a:pt x="400" y="147"/>
                  <a:pt x="400" y="147"/>
                  <a:pt x="400" y="147"/>
                </a:cubicBezTo>
                <a:cubicBezTo>
                  <a:pt x="400" y="144"/>
                  <a:pt x="403" y="142"/>
                  <a:pt x="405" y="142"/>
                </a:cubicBezTo>
                <a:cubicBezTo>
                  <a:pt x="513" y="142"/>
                  <a:pt x="513" y="142"/>
                  <a:pt x="513" y="142"/>
                </a:cubicBezTo>
                <a:cubicBezTo>
                  <a:pt x="516" y="142"/>
                  <a:pt x="518" y="144"/>
                  <a:pt x="518" y="147"/>
                </a:cubicBezTo>
                <a:cubicBezTo>
                  <a:pt x="518" y="189"/>
                  <a:pt x="518" y="189"/>
                  <a:pt x="518" y="189"/>
                </a:cubicBezTo>
                <a:close/>
                <a:moveTo>
                  <a:pt x="676" y="413"/>
                </a:moveTo>
                <a:cubicBezTo>
                  <a:pt x="676" y="416"/>
                  <a:pt x="674" y="418"/>
                  <a:pt x="671" y="418"/>
                </a:cubicBezTo>
                <a:cubicBezTo>
                  <a:pt x="563" y="418"/>
                  <a:pt x="563" y="418"/>
                  <a:pt x="563" y="418"/>
                </a:cubicBezTo>
                <a:cubicBezTo>
                  <a:pt x="561" y="418"/>
                  <a:pt x="558" y="416"/>
                  <a:pt x="558" y="413"/>
                </a:cubicBezTo>
                <a:cubicBezTo>
                  <a:pt x="558" y="371"/>
                  <a:pt x="558" y="371"/>
                  <a:pt x="558" y="371"/>
                </a:cubicBezTo>
                <a:cubicBezTo>
                  <a:pt x="558" y="368"/>
                  <a:pt x="561" y="366"/>
                  <a:pt x="563" y="366"/>
                </a:cubicBezTo>
                <a:cubicBezTo>
                  <a:pt x="671" y="366"/>
                  <a:pt x="671" y="366"/>
                  <a:pt x="671" y="366"/>
                </a:cubicBezTo>
                <a:cubicBezTo>
                  <a:pt x="674" y="366"/>
                  <a:pt x="676" y="368"/>
                  <a:pt x="676" y="371"/>
                </a:cubicBezTo>
                <a:cubicBezTo>
                  <a:pt x="676" y="413"/>
                  <a:pt x="676" y="413"/>
                  <a:pt x="676" y="413"/>
                </a:cubicBezTo>
                <a:close/>
                <a:moveTo>
                  <a:pt x="676" y="301"/>
                </a:moveTo>
                <a:cubicBezTo>
                  <a:pt x="676" y="304"/>
                  <a:pt x="674" y="306"/>
                  <a:pt x="671" y="306"/>
                </a:cubicBezTo>
                <a:cubicBezTo>
                  <a:pt x="563" y="306"/>
                  <a:pt x="563" y="306"/>
                  <a:pt x="563" y="306"/>
                </a:cubicBezTo>
                <a:cubicBezTo>
                  <a:pt x="561" y="306"/>
                  <a:pt x="558" y="304"/>
                  <a:pt x="558" y="301"/>
                </a:cubicBezTo>
                <a:cubicBezTo>
                  <a:pt x="558" y="259"/>
                  <a:pt x="558" y="259"/>
                  <a:pt x="558" y="259"/>
                </a:cubicBezTo>
                <a:cubicBezTo>
                  <a:pt x="558" y="256"/>
                  <a:pt x="561" y="254"/>
                  <a:pt x="563" y="254"/>
                </a:cubicBezTo>
                <a:cubicBezTo>
                  <a:pt x="671" y="254"/>
                  <a:pt x="671" y="254"/>
                  <a:pt x="671" y="254"/>
                </a:cubicBezTo>
                <a:cubicBezTo>
                  <a:pt x="674" y="254"/>
                  <a:pt x="676" y="256"/>
                  <a:pt x="676" y="259"/>
                </a:cubicBezTo>
                <a:cubicBezTo>
                  <a:pt x="676" y="301"/>
                  <a:pt x="676" y="301"/>
                  <a:pt x="676" y="301"/>
                </a:cubicBezTo>
                <a:close/>
                <a:moveTo>
                  <a:pt x="676" y="189"/>
                </a:moveTo>
                <a:cubicBezTo>
                  <a:pt x="676" y="191"/>
                  <a:pt x="674" y="194"/>
                  <a:pt x="671" y="194"/>
                </a:cubicBezTo>
                <a:cubicBezTo>
                  <a:pt x="563" y="194"/>
                  <a:pt x="563" y="194"/>
                  <a:pt x="563" y="194"/>
                </a:cubicBezTo>
                <a:cubicBezTo>
                  <a:pt x="561" y="194"/>
                  <a:pt x="558" y="191"/>
                  <a:pt x="558" y="189"/>
                </a:cubicBezTo>
                <a:cubicBezTo>
                  <a:pt x="558" y="147"/>
                  <a:pt x="558" y="147"/>
                  <a:pt x="558" y="147"/>
                </a:cubicBezTo>
                <a:cubicBezTo>
                  <a:pt x="558" y="144"/>
                  <a:pt x="561" y="142"/>
                  <a:pt x="563" y="142"/>
                </a:cubicBezTo>
                <a:cubicBezTo>
                  <a:pt x="671" y="142"/>
                  <a:pt x="671" y="142"/>
                  <a:pt x="671" y="142"/>
                </a:cubicBezTo>
                <a:cubicBezTo>
                  <a:pt x="674" y="142"/>
                  <a:pt x="676" y="144"/>
                  <a:pt x="676" y="147"/>
                </a:cubicBezTo>
                <a:cubicBezTo>
                  <a:pt x="676" y="189"/>
                  <a:pt x="676" y="189"/>
                  <a:pt x="676" y="189"/>
                </a:cubicBezTo>
                <a:close/>
                <a:moveTo>
                  <a:pt x="759" y="536"/>
                </a:moveTo>
                <a:cubicBezTo>
                  <a:pt x="759" y="548"/>
                  <a:pt x="749" y="558"/>
                  <a:pt x="737" y="558"/>
                </a:cubicBezTo>
                <a:cubicBezTo>
                  <a:pt x="224" y="558"/>
                  <a:pt x="224" y="558"/>
                  <a:pt x="224" y="558"/>
                </a:cubicBezTo>
                <a:cubicBezTo>
                  <a:pt x="214" y="558"/>
                  <a:pt x="204" y="550"/>
                  <a:pt x="203" y="540"/>
                </a:cubicBezTo>
                <a:cubicBezTo>
                  <a:pt x="117" y="44"/>
                  <a:pt x="117" y="44"/>
                  <a:pt x="117" y="44"/>
                </a:cubicBezTo>
                <a:cubicBezTo>
                  <a:pt x="22" y="44"/>
                  <a:pt x="22" y="44"/>
                  <a:pt x="22" y="44"/>
                </a:cubicBezTo>
                <a:cubicBezTo>
                  <a:pt x="10" y="44"/>
                  <a:pt x="0" y="35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46" y="0"/>
                  <a:pt x="155" y="8"/>
                  <a:pt x="157" y="19"/>
                </a:cubicBezTo>
                <a:cubicBezTo>
                  <a:pt x="243" y="514"/>
                  <a:pt x="243" y="514"/>
                  <a:pt x="243" y="514"/>
                </a:cubicBezTo>
                <a:cubicBezTo>
                  <a:pt x="737" y="514"/>
                  <a:pt x="737" y="514"/>
                  <a:pt x="737" y="514"/>
                </a:cubicBezTo>
                <a:cubicBezTo>
                  <a:pt x="749" y="514"/>
                  <a:pt x="759" y="524"/>
                  <a:pt x="759" y="536"/>
                </a:cubicBezTo>
                <a:close/>
                <a:moveTo>
                  <a:pt x="754" y="677"/>
                </a:moveTo>
                <a:cubicBezTo>
                  <a:pt x="754" y="720"/>
                  <a:pt x="720" y="754"/>
                  <a:pt x="677" y="754"/>
                </a:cubicBezTo>
                <a:cubicBezTo>
                  <a:pt x="635" y="754"/>
                  <a:pt x="600" y="720"/>
                  <a:pt x="600" y="677"/>
                </a:cubicBezTo>
                <a:cubicBezTo>
                  <a:pt x="600" y="635"/>
                  <a:pt x="635" y="600"/>
                  <a:pt x="677" y="600"/>
                </a:cubicBezTo>
                <a:cubicBezTo>
                  <a:pt x="720" y="600"/>
                  <a:pt x="754" y="635"/>
                  <a:pt x="754" y="677"/>
                </a:cubicBezTo>
                <a:close/>
                <a:moveTo>
                  <a:pt x="358" y="677"/>
                </a:moveTo>
                <a:cubicBezTo>
                  <a:pt x="358" y="720"/>
                  <a:pt x="324" y="754"/>
                  <a:pt x="281" y="754"/>
                </a:cubicBezTo>
                <a:cubicBezTo>
                  <a:pt x="239" y="754"/>
                  <a:pt x="205" y="720"/>
                  <a:pt x="205" y="677"/>
                </a:cubicBezTo>
                <a:cubicBezTo>
                  <a:pt x="205" y="635"/>
                  <a:pt x="239" y="600"/>
                  <a:pt x="281" y="600"/>
                </a:cubicBezTo>
                <a:cubicBezTo>
                  <a:pt x="324" y="600"/>
                  <a:pt x="358" y="635"/>
                  <a:pt x="358" y="677"/>
                </a:cubicBezTo>
                <a:close/>
              </a:path>
            </a:pathLst>
          </a:custGeom>
          <a:solidFill>
            <a:srgbClr val="595959">
              <a:lumMod val="10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0" name="Rectangle 19"/>
          <p:cNvSpPr/>
          <p:nvPr/>
        </p:nvSpPr>
        <p:spPr>
          <a:xfrm>
            <a:off x="7673063" y="4390665"/>
            <a:ext cx="687292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Розница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sp>
        <p:nvSpPr>
          <p:cNvPr id="24" name="AutoShape 19">
            <a:extLst>
              <a:ext uri="{FF2B5EF4-FFF2-40B4-BE49-F238E27FC236}">
                <a16:creationId xmlns:a16="http://schemas.microsoft.com/office/drawing/2014/main" id="{87A709C4-C460-42AC-8D6F-850C534249C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552255" y="3776488"/>
            <a:ext cx="895070" cy="89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5" name="Freeform 21">
            <a:extLst>
              <a:ext uri="{FF2B5EF4-FFF2-40B4-BE49-F238E27FC236}">
                <a16:creationId xmlns:a16="http://schemas.microsoft.com/office/drawing/2014/main" id="{5B97506B-F2E5-432C-AC70-CC2D99DA3BCD}"/>
              </a:ext>
            </a:extLst>
          </p:cNvPr>
          <p:cNvSpPr>
            <a:spLocks noEditPoints="1"/>
          </p:cNvSpPr>
          <p:nvPr/>
        </p:nvSpPr>
        <p:spPr bwMode="auto">
          <a:xfrm>
            <a:off x="5651799" y="4105814"/>
            <a:ext cx="738702" cy="332022"/>
          </a:xfrm>
          <a:custGeom>
            <a:avLst/>
            <a:gdLst>
              <a:gd name="T0" fmla="*/ 1902 w 1902"/>
              <a:gd name="T1" fmla="*/ 325 h 854"/>
              <a:gd name="T2" fmla="*/ 1902 w 1902"/>
              <a:gd name="T3" fmla="*/ 645 h 854"/>
              <a:gd name="T4" fmla="*/ 1879 w 1902"/>
              <a:gd name="T5" fmla="*/ 667 h 854"/>
              <a:gd name="T6" fmla="*/ 1741 w 1902"/>
              <a:gd name="T7" fmla="*/ 667 h 854"/>
              <a:gd name="T8" fmla="*/ 1723 w 1902"/>
              <a:gd name="T9" fmla="*/ 623 h 854"/>
              <a:gd name="T10" fmla="*/ 1858 w 1902"/>
              <a:gd name="T11" fmla="*/ 623 h 854"/>
              <a:gd name="T12" fmla="*/ 1858 w 1902"/>
              <a:gd name="T13" fmla="*/ 338 h 854"/>
              <a:gd name="T14" fmla="*/ 1664 w 1902"/>
              <a:gd name="T15" fmla="*/ 44 h 854"/>
              <a:gd name="T16" fmla="*/ 1325 w 1902"/>
              <a:gd name="T17" fmla="*/ 44 h 854"/>
              <a:gd name="T18" fmla="*/ 1325 w 1902"/>
              <a:gd name="T19" fmla="*/ 623 h 854"/>
              <a:gd name="T20" fmla="*/ 1405 w 1902"/>
              <a:gd name="T21" fmla="*/ 623 h 854"/>
              <a:gd name="T22" fmla="*/ 1387 w 1902"/>
              <a:gd name="T23" fmla="*/ 667 h 854"/>
              <a:gd name="T24" fmla="*/ 1303 w 1902"/>
              <a:gd name="T25" fmla="*/ 667 h 854"/>
              <a:gd name="T26" fmla="*/ 1281 w 1902"/>
              <a:gd name="T27" fmla="*/ 645 h 854"/>
              <a:gd name="T28" fmla="*/ 1281 w 1902"/>
              <a:gd name="T29" fmla="*/ 21 h 854"/>
              <a:gd name="T30" fmla="*/ 1303 w 1902"/>
              <a:gd name="T31" fmla="*/ 0 h 854"/>
              <a:gd name="T32" fmla="*/ 1688 w 1902"/>
              <a:gd name="T33" fmla="*/ 0 h 854"/>
              <a:gd name="T34" fmla="*/ 1902 w 1902"/>
              <a:gd name="T35" fmla="*/ 325 h 854"/>
              <a:gd name="T36" fmla="*/ 1705 w 1902"/>
              <a:gd name="T37" fmla="*/ 713 h 854"/>
              <a:gd name="T38" fmla="*/ 1564 w 1902"/>
              <a:gd name="T39" fmla="*/ 572 h 854"/>
              <a:gd name="T40" fmla="*/ 1423 w 1902"/>
              <a:gd name="T41" fmla="*/ 713 h 854"/>
              <a:gd name="T42" fmla="*/ 1569 w 1902"/>
              <a:gd name="T43" fmla="*/ 854 h 854"/>
              <a:gd name="T44" fmla="*/ 1705 w 1902"/>
              <a:gd name="T45" fmla="*/ 713 h 854"/>
              <a:gd name="T46" fmla="*/ 1657 w 1902"/>
              <a:gd name="T47" fmla="*/ 713 h 854"/>
              <a:gd name="T48" fmla="*/ 1564 w 1902"/>
              <a:gd name="T49" fmla="*/ 806 h 854"/>
              <a:gd name="T50" fmla="*/ 1472 w 1902"/>
              <a:gd name="T51" fmla="*/ 713 h 854"/>
              <a:gd name="T52" fmla="*/ 1564 w 1902"/>
              <a:gd name="T53" fmla="*/ 620 h 854"/>
              <a:gd name="T54" fmla="*/ 1657 w 1902"/>
              <a:gd name="T55" fmla="*/ 713 h 854"/>
              <a:gd name="T56" fmla="*/ 403 w 1902"/>
              <a:gd name="T57" fmla="*/ 713 h 854"/>
              <a:gd name="T58" fmla="*/ 262 w 1902"/>
              <a:gd name="T59" fmla="*/ 572 h 854"/>
              <a:gd name="T60" fmla="*/ 121 w 1902"/>
              <a:gd name="T61" fmla="*/ 713 h 854"/>
              <a:gd name="T62" fmla="*/ 267 w 1902"/>
              <a:gd name="T63" fmla="*/ 854 h 854"/>
              <a:gd name="T64" fmla="*/ 403 w 1902"/>
              <a:gd name="T65" fmla="*/ 713 h 854"/>
              <a:gd name="T66" fmla="*/ 354 w 1902"/>
              <a:gd name="T67" fmla="*/ 713 h 854"/>
              <a:gd name="T68" fmla="*/ 262 w 1902"/>
              <a:gd name="T69" fmla="*/ 806 h 854"/>
              <a:gd name="T70" fmla="*/ 169 w 1902"/>
              <a:gd name="T71" fmla="*/ 713 h 854"/>
              <a:gd name="T72" fmla="*/ 262 w 1902"/>
              <a:gd name="T73" fmla="*/ 620 h 854"/>
              <a:gd name="T74" fmla="*/ 354 w 1902"/>
              <a:gd name="T75" fmla="*/ 713 h 854"/>
              <a:gd name="T76" fmla="*/ 1227 w 1902"/>
              <a:gd name="T77" fmla="*/ 468 h 854"/>
              <a:gd name="T78" fmla="*/ 21 w 1902"/>
              <a:gd name="T79" fmla="*/ 468 h 854"/>
              <a:gd name="T80" fmla="*/ 0 w 1902"/>
              <a:gd name="T81" fmla="*/ 489 h 854"/>
              <a:gd name="T82" fmla="*/ 0 w 1902"/>
              <a:gd name="T83" fmla="*/ 646 h 854"/>
              <a:gd name="T84" fmla="*/ 21 w 1902"/>
              <a:gd name="T85" fmla="*/ 667 h 854"/>
              <a:gd name="T86" fmla="*/ 83 w 1902"/>
              <a:gd name="T87" fmla="*/ 667 h 854"/>
              <a:gd name="T88" fmla="*/ 262 w 1902"/>
              <a:gd name="T89" fmla="*/ 528 h 854"/>
              <a:gd name="T90" fmla="*/ 441 w 1902"/>
              <a:gd name="T91" fmla="*/ 667 h 854"/>
              <a:gd name="T92" fmla="*/ 1227 w 1902"/>
              <a:gd name="T93" fmla="*/ 667 h 854"/>
              <a:gd name="T94" fmla="*/ 1231 w 1902"/>
              <a:gd name="T95" fmla="*/ 667 h 854"/>
              <a:gd name="T96" fmla="*/ 1231 w 1902"/>
              <a:gd name="T97" fmla="*/ 468 h 854"/>
              <a:gd name="T98" fmla="*/ 1227 w 1902"/>
              <a:gd name="T99" fmla="*/ 468 h 8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02" h="854">
                <a:moveTo>
                  <a:pt x="1902" y="325"/>
                </a:moveTo>
                <a:cubicBezTo>
                  <a:pt x="1902" y="645"/>
                  <a:pt x="1902" y="645"/>
                  <a:pt x="1902" y="645"/>
                </a:cubicBezTo>
                <a:cubicBezTo>
                  <a:pt x="1902" y="657"/>
                  <a:pt x="1892" y="667"/>
                  <a:pt x="1879" y="667"/>
                </a:cubicBezTo>
                <a:cubicBezTo>
                  <a:pt x="1741" y="667"/>
                  <a:pt x="1741" y="667"/>
                  <a:pt x="1741" y="667"/>
                </a:cubicBezTo>
                <a:cubicBezTo>
                  <a:pt x="1737" y="651"/>
                  <a:pt x="1731" y="637"/>
                  <a:pt x="1723" y="623"/>
                </a:cubicBezTo>
                <a:cubicBezTo>
                  <a:pt x="1858" y="623"/>
                  <a:pt x="1858" y="623"/>
                  <a:pt x="1858" y="623"/>
                </a:cubicBezTo>
                <a:cubicBezTo>
                  <a:pt x="1858" y="338"/>
                  <a:pt x="1858" y="338"/>
                  <a:pt x="1858" y="338"/>
                </a:cubicBezTo>
                <a:cubicBezTo>
                  <a:pt x="1664" y="44"/>
                  <a:pt x="1664" y="44"/>
                  <a:pt x="1664" y="44"/>
                </a:cubicBezTo>
                <a:cubicBezTo>
                  <a:pt x="1325" y="44"/>
                  <a:pt x="1325" y="44"/>
                  <a:pt x="1325" y="44"/>
                </a:cubicBezTo>
                <a:cubicBezTo>
                  <a:pt x="1325" y="623"/>
                  <a:pt x="1325" y="623"/>
                  <a:pt x="1325" y="623"/>
                </a:cubicBezTo>
                <a:cubicBezTo>
                  <a:pt x="1405" y="623"/>
                  <a:pt x="1405" y="623"/>
                  <a:pt x="1405" y="623"/>
                </a:cubicBezTo>
                <a:cubicBezTo>
                  <a:pt x="1398" y="637"/>
                  <a:pt x="1391" y="651"/>
                  <a:pt x="1387" y="667"/>
                </a:cubicBezTo>
                <a:cubicBezTo>
                  <a:pt x="1303" y="667"/>
                  <a:pt x="1303" y="667"/>
                  <a:pt x="1303" y="667"/>
                </a:cubicBezTo>
                <a:cubicBezTo>
                  <a:pt x="1291" y="667"/>
                  <a:pt x="1281" y="657"/>
                  <a:pt x="1281" y="645"/>
                </a:cubicBezTo>
                <a:cubicBezTo>
                  <a:pt x="1281" y="21"/>
                  <a:pt x="1281" y="21"/>
                  <a:pt x="1281" y="21"/>
                </a:cubicBezTo>
                <a:cubicBezTo>
                  <a:pt x="1281" y="9"/>
                  <a:pt x="1291" y="0"/>
                  <a:pt x="1303" y="0"/>
                </a:cubicBezTo>
                <a:cubicBezTo>
                  <a:pt x="1688" y="0"/>
                  <a:pt x="1688" y="0"/>
                  <a:pt x="1688" y="0"/>
                </a:cubicBezTo>
                <a:lnTo>
                  <a:pt x="1902" y="325"/>
                </a:lnTo>
                <a:close/>
                <a:moveTo>
                  <a:pt x="1705" y="713"/>
                </a:moveTo>
                <a:cubicBezTo>
                  <a:pt x="1705" y="635"/>
                  <a:pt x="1642" y="572"/>
                  <a:pt x="1564" y="572"/>
                </a:cubicBezTo>
                <a:cubicBezTo>
                  <a:pt x="1486" y="572"/>
                  <a:pt x="1423" y="635"/>
                  <a:pt x="1423" y="713"/>
                </a:cubicBezTo>
                <a:cubicBezTo>
                  <a:pt x="1423" y="791"/>
                  <a:pt x="1491" y="854"/>
                  <a:pt x="1569" y="854"/>
                </a:cubicBezTo>
                <a:cubicBezTo>
                  <a:pt x="1647" y="854"/>
                  <a:pt x="1705" y="791"/>
                  <a:pt x="1705" y="713"/>
                </a:cubicBezTo>
                <a:close/>
                <a:moveTo>
                  <a:pt x="1657" y="713"/>
                </a:moveTo>
                <a:cubicBezTo>
                  <a:pt x="1657" y="764"/>
                  <a:pt x="1615" y="806"/>
                  <a:pt x="1564" y="806"/>
                </a:cubicBezTo>
                <a:cubicBezTo>
                  <a:pt x="1513" y="806"/>
                  <a:pt x="1472" y="764"/>
                  <a:pt x="1472" y="713"/>
                </a:cubicBezTo>
                <a:cubicBezTo>
                  <a:pt x="1472" y="662"/>
                  <a:pt x="1513" y="620"/>
                  <a:pt x="1564" y="620"/>
                </a:cubicBezTo>
                <a:cubicBezTo>
                  <a:pt x="1615" y="620"/>
                  <a:pt x="1657" y="662"/>
                  <a:pt x="1657" y="713"/>
                </a:cubicBezTo>
                <a:close/>
                <a:moveTo>
                  <a:pt x="403" y="713"/>
                </a:moveTo>
                <a:cubicBezTo>
                  <a:pt x="403" y="635"/>
                  <a:pt x="340" y="572"/>
                  <a:pt x="262" y="572"/>
                </a:cubicBezTo>
                <a:cubicBezTo>
                  <a:pt x="184" y="572"/>
                  <a:pt x="121" y="635"/>
                  <a:pt x="121" y="713"/>
                </a:cubicBezTo>
                <a:cubicBezTo>
                  <a:pt x="121" y="791"/>
                  <a:pt x="189" y="854"/>
                  <a:pt x="267" y="854"/>
                </a:cubicBezTo>
                <a:cubicBezTo>
                  <a:pt x="344" y="854"/>
                  <a:pt x="403" y="791"/>
                  <a:pt x="403" y="713"/>
                </a:cubicBezTo>
                <a:close/>
                <a:moveTo>
                  <a:pt x="354" y="713"/>
                </a:moveTo>
                <a:cubicBezTo>
                  <a:pt x="354" y="764"/>
                  <a:pt x="313" y="806"/>
                  <a:pt x="262" y="806"/>
                </a:cubicBezTo>
                <a:cubicBezTo>
                  <a:pt x="211" y="806"/>
                  <a:pt x="169" y="764"/>
                  <a:pt x="169" y="713"/>
                </a:cubicBezTo>
                <a:cubicBezTo>
                  <a:pt x="169" y="662"/>
                  <a:pt x="211" y="620"/>
                  <a:pt x="262" y="620"/>
                </a:cubicBezTo>
                <a:cubicBezTo>
                  <a:pt x="313" y="620"/>
                  <a:pt x="354" y="662"/>
                  <a:pt x="354" y="713"/>
                </a:cubicBezTo>
                <a:close/>
                <a:moveTo>
                  <a:pt x="1227" y="468"/>
                </a:moveTo>
                <a:cubicBezTo>
                  <a:pt x="21" y="468"/>
                  <a:pt x="21" y="468"/>
                  <a:pt x="21" y="468"/>
                </a:cubicBezTo>
                <a:cubicBezTo>
                  <a:pt x="9" y="468"/>
                  <a:pt x="0" y="477"/>
                  <a:pt x="0" y="489"/>
                </a:cubicBezTo>
                <a:cubicBezTo>
                  <a:pt x="0" y="646"/>
                  <a:pt x="0" y="646"/>
                  <a:pt x="0" y="646"/>
                </a:cubicBezTo>
                <a:cubicBezTo>
                  <a:pt x="0" y="658"/>
                  <a:pt x="9" y="667"/>
                  <a:pt x="21" y="667"/>
                </a:cubicBezTo>
                <a:cubicBezTo>
                  <a:pt x="83" y="667"/>
                  <a:pt x="83" y="667"/>
                  <a:pt x="83" y="667"/>
                </a:cubicBezTo>
                <a:cubicBezTo>
                  <a:pt x="103" y="587"/>
                  <a:pt x="176" y="528"/>
                  <a:pt x="262" y="528"/>
                </a:cubicBezTo>
                <a:cubicBezTo>
                  <a:pt x="348" y="528"/>
                  <a:pt x="421" y="587"/>
                  <a:pt x="441" y="667"/>
                </a:cubicBezTo>
                <a:cubicBezTo>
                  <a:pt x="1227" y="667"/>
                  <a:pt x="1227" y="667"/>
                  <a:pt x="1227" y="667"/>
                </a:cubicBezTo>
                <a:cubicBezTo>
                  <a:pt x="1228" y="667"/>
                  <a:pt x="1230" y="667"/>
                  <a:pt x="1231" y="667"/>
                </a:cubicBezTo>
                <a:cubicBezTo>
                  <a:pt x="1231" y="468"/>
                  <a:pt x="1231" y="468"/>
                  <a:pt x="1231" y="468"/>
                </a:cubicBezTo>
                <a:cubicBezTo>
                  <a:pt x="1230" y="468"/>
                  <a:pt x="1228" y="468"/>
                  <a:pt x="1227" y="468"/>
                </a:cubicBezTo>
                <a:close/>
              </a:path>
            </a:pathLst>
          </a:custGeom>
          <a:solidFill>
            <a:srgbClr val="98A6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6" name="Freeform 22">
            <a:extLst>
              <a:ext uri="{FF2B5EF4-FFF2-40B4-BE49-F238E27FC236}">
                <a16:creationId xmlns:a16="http://schemas.microsoft.com/office/drawing/2014/main" id="{B0559BF6-D87B-4C20-B897-47FA7C3247CA}"/>
              </a:ext>
            </a:extLst>
          </p:cNvPr>
          <p:cNvSpPr>
            <a:spLocks noEditPoints="1"/>
          </p:cNvSpPr>
          <p:nvPr/>
        </p:nvSpPr>
        <p:spPr bwMode="auto">
          <a:xfrm>
            <a:off x="5610530" y="4013736"/>
            <a:ext cx="726052" cy="389468"/>
          </a:xfrm>
          <a:custGeom>
            <a:avLst/>
            <a:gdLst>
              <a:gd name="T0" fmla="*/ 1851 w 1869"/>
              <a:gd name="T1" fmla="*/ 535 h 1002"/>
              <a:gd name="T2" fmla="*/ 1534 w 1869"/>
              <a:gd name="T3" fmla="*/ 535 h 1002"/>
              <a:gd name="T4" fmla="*/ 1524 w 1869"/>
              <a:gd name="T5" fmla="*/ 526 h 1002"/>
              <a:gd name="T6" fmla="*/ 1524 w 1869"/>
              <a:gd name="T7" fmla="*/ 319 h 1002"/>
              <a:gd name="T8" fmla="*/ 1534 w 1869"/>
              <a:gd name="T9" fmla="*/ 310 h 1002"/>
              <a:gd name="T10" fmla="*/ 1737 w 1869"/>
              <a:gd name="T11" fmla="*/ 310 h 1002"/>
              <a:gd name="T12" fmla="*/ 1757 w 1869"/>
              <a:gd name="T13" fmla="*/ 328 h 1002"/>
              <a:gd name="T14" fmla="*/ 1868 w 1869"/>
              <a:gd name="T15" fmla="*/ 516 h 1002"/>
              <a:gd name="T16" fmla="*/ 1869 w 1869"/>
              <a:gd name="T17" fmla="*/ 521 h 1002"/>
              <a:gd name="T18" fmla="*/ 1851 w 1869"/>
              <a:gd name="T19" fmla="*/ 535 h 1002"/>
              <a:gd name="T20" fmla="*/ 368 w 1869"/>
              <a:gd name="T21" fmla="*/ 898 h 1002"/>
              <a:gd name="T22" fmla="*/ 316 w 1869"/>
              <a:gd name="T23" fmla="*/ 950 h 1002"/>
              <a:gd name="T24" fmla="*/ 368 w 1869"/>
              <a:gd name="T25" fmla="*/ 1002 h 1002"/>
              <a:gd name="T26" fmla="*/ 420 w 1869"/>
              <a:gd name="T27" fmla="*/ 950 h 1002"/>
              <a:gd name="T28" fmla="*/ 368 w 1869"/>
              <a:gd name="T29" fmla="*/ 898 h 1002"/>
              <a:gd name="T30" fmla="*/ 1670 w 1869"/>
              <a:gd name="T31" fmla="*/ 898 h 1002"/>
              <a:gd name="T32" fmla="*/ 1618 w 1869"/>
              <a:gd name="T33" fmla="*/ 950 h 1002"/>
              <a:gd name="T34" fmla="*/ 1670 w 1869"/>
              <a:gd name="T35" fmla="*/ 1002 h 1002"/>
              <a:gd name="T36" fmla="*/ 1722 w 1869"/>
              <a:gd name="T37" fmla="*/ 950 h 1002"/>
              <a:gd name="T38" fmla="*/ 1670 w 1869"/>
              <a:gd name="T39" fmla="*/ 898 h 1002"/>
              <a:gd name="T40" fmla="*/ 1340 w 1869"/>
              <a:gd name="T41" fmla="*/ 22 h 1002"/>
              <a:gd name="T42" fmla="*/ 1318 w 1869"/>
              <a:gd name="T43" fmla="*/ 0 h 1002"/>
              <a:gd name="T44" fmla="*/ 22 w 1869"/>
              <a:gd name="T45" fmla="*/ 0 h 1002"/>
              <a:gd name="T46" fmla="*/ 0 w 1869"/>
              <a:gd name="T47" fmla="*/ 22 h 1002"/>
              <a:gd name="T48" fmla="*/ 0 w 1869"/>
              <a:gd name="T49" fmla="*/ 639 h 1002"/>
              <a:gd name="T50" fmla="*/ 22 w 1869"/>
              <a:gd name="T51" fmla="*/ 661 h 1002"/>
              <a:gd name="T52" fmla="*/ 1340 w 1869"/>
              <a:gd name="T53" fmla="*/ 661 h 1002"/>
              <a:gd name="T54" fmla="*/ 1340 w 1869"/>
              <a:gd name="T55" fmla="*/ 22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869" h="1002">
                <a:moveTo>
                  <a:pt x="1851" y="535"/>
                </a:moveTo>
                <a:cubicBezTo>
                  <a:pt x="1534" y="535"/>
                  <a:pt x="1534" y="535"/>
                  <a:pt x="1534" y="535"/>
                </a:cubicBezTo>
                <a:cubicBezTo>
                  <a:pt x="1529" y="535"/>
                  <a:pt x="1524" y="531"/>
                  <a:pt x="1524" y="526"/>
                </a:cubicBezTo>
                <a:cubicBezTo>
                  <a:pt x="1524" y="319"/>
                  <a:pt x="1524" y="319"/>
                  <a:pt x="1524" y="319"/>
                </a:cubicBezTo>
                <a:cubicBezTo>
                  <a:pt x="1524" y="314"/>
                  <a:pt x="1529" y="310"/>
                  <a:pt x="1534" y="310"/>
                </a:cubicBezTo>
                <a:cubicBezTo>
                  <a:pt x="1737" y="310"/>
                  <a:pt x="1737" y="310"/>
                  <a:pt x="1737" y="310"/>
                </a:cubicBezTo>
                <a:cubicBezTo>
                  <a:pt x="1747" y="310"/>
                  <a:pt x="1751" y="318"/>
                  <a:pt x="1757" y="328"/>
                </a:cubicBezTo>
                <a:cubicBezTo>
                  <a:pt x="1868" y="516"/>
                  <a:pt x="1868" y="516"/>
                  <a:pt x="1868" y="516"/>
                </a:cubicBezTo>
                <a:cubicBezTo>
                  <a:pt x="1869" y="517"/>
                  <a:pt x="1869" y="519"/>
                  <a:pt x="1869" y="521"/>
                </a:cubicBezTo>
                <a:cubicBezTo>
                  <a:pt x="1867" y="529"/>
                  <a:pt x="1860" y="535"/>
                  <a:pt x="1851" y="535"/>
                </a:cubicBezTo>
                <a:close/>
                <a:moveTo>
                  <a:pt x="368" y="898"/>
                </a:moveTo>
                <a:cubicBezTo>
                  <a:pt x="339" y="898"/>
                  <a:pt x="316" y="921"/>
                  <a:pt x="316" y="950"/>
                </a:cubicBezTo>
                <a:cubicBezTo>
                  <a:pt x="316" y="979"/>
                  <a:pt x="339" y="1002"/>
                  <a:pt x="368" y="1002"/>
                </a:cubicBezTo>
                <a:cubicBezTo>
                  <a:pt x="397" y="1002"/>
                  <a:pt x="420" y="979"/>
                  <a:pt x="420" y="950"/>
                </a:cubicBezTo>
                <a:cubicBezTo>
                  <a:pt x="420" y="921"/>
                  <a:pt x="397" y="898"/>
                  <a:pt x="368" y="898"/>
                </a:cubicBezTo>
                <a:close/>
                <a:moveTo>
                  <a:pt x="1670" y="898"/>
                </a:moveTo>
                <a:cubicBezTo>
                  <a:pt x="1641" y="898"/>
                  <a:pt x="1618" y="921"/>
                  <a:pt x="1618" y="950"/>
                </a:cubicBezTo>
                <a:cubicBezTo>
                  <a:pt x="1618" y="979"/>
                  <a:pt x="1641" y="1002"/>
                  <a:pt x="1670" y="1002"/>
                </a:cubicBezTo>
                <a:cubicBezTo>
                  <a:pt x="1699" y="1002"/>
                  <a:pt x="1722" y="979"/>
                  <a:pt x="1722" y="950"/>
                </a:cubicBezTo>
                <a:cubicBezTo>
                  <a:pt x="1722" y="921"/>
                  <a:pt x="1699" y="898"/>
                  <a:pt x="1670" y="898"/>
                </a:cubicBezTo>
                <a:close/>
                <a:moveTo>
                  <a:pt x="1340" y="22"/>
                </a:moveTo>
                <a:cubicBezTo>
                  <a:pt x="1340" y="10"/>
                  <a:pt x="1330" y="0"/>
                  <a:pt x="1318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639"/>
                  <a:pt x="0" y="639"/>
                  <a:pt x="0" y="639"/>
                </a:cubicBezTo>
                <a:cubicBezTo>
                  <a:pt x="0" y="651"/>
                  <a:pt x="10" y="661"/>
                  <a:pt x="22" y="661"/>
                </a:cubicBezTo>
                <a:cubicBezTo>
                  <a:pt x="1340" y="661"/>
                  <a:pt x="1340" y="661"/>
                  <a:pt x="1340" y="661"/>
                </a:cubicBezTo>
                <a:lnTo>
                  <a:pt x="1340" y="22"/>
                </a:lnTo>
                <a:close/>
              </a:path>
            </a:pathLst>
          </a:custGeom>
          <a:solidFill>
            <a:srgbClr val="595959">
              <a:lumMod val="10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8" name="Rectangle 27"/>
          <p:cNvSpPr/>
          <p:nvPr/>
        </p:nvSpPr>
        <p:spPr>
          <a:xfrm>
            <a:off x="1797146" y="3539421"/>
            <a:ext cx="2696871" cy="1029017"/>
          </a:xfrm>
          <a:prstGeom prst="rect">
            <a:avLst/>
          </a:prstGeom>
          <a:noFill/>
          <a:ln w="8572" cap="rnd" cmpd="sng" algn="ctr">
            <a:solidFill>
              <a:srgbClr val="595959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59595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692692" y="3603287"/>
            <a:ext cx="888358" cy="16927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100" dirty="0">
                <a:solidFill>
                  <a:schemeClr val="tx2"/>
                </a:solidFill>
              </a:rPr>
              <a:t>Поставщики</a:t>
            </a:r>
            <a:endParaRPr lang="en-US" sz="1100" dirty="0" err="1">
              <a:solidFill>
                <a:schemeClr val="tx2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544491" y="2178550"/>
            <a:ext cx="1656344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Органы сертификации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400" y="5074987"/>
            <a:ext cx="643132" cy="764612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2152320" y="5880573"/>
            <a:ext cx="687292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 err="1">
                <a:solidFill>
                  <a:schemeClr val="tx2"/>
                </a:solidFill>
              </a:rPr>
              <a:t>ФТС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0747" y="5108894"/>
            <a:ext cx="1024737" cy="764612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6263415" y="5877930"/>
            <a:ext cx="687292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 err="1">
                <a:solidFill>
                  <a:schemeClr val="tx2"/>
                </a:solidFill>
              </a:rPr>
              <a:t>ФНС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77145" y="5108894"/>
            <a:ext cx="624559" cy="764612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8237283" y="5875287"/>
            <a:ext cx="687292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Росстат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sp>
        <p:nvSpPr>
          <p:cNvPr id="41" name="AutoShape 8">
            <a:extLst>
              <a:ext uri="{FF2B5EF4-FFF2-40B4-BE49-F238E27FC236}">
                <a16:creationId xmlns:a16="http://schemas.microsoft.com/office/drawing/2014/main" id="{6CBFDBB9-C441-4D83-B46F-EF3E6F33725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170019" y="5154000"/>
            <a:ext cx="753624" cy="764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1000" dirty="0"/>
          </a:p>
        </p:txBody>
      </p:sp>
      <p:sp>
        <p:nvSpPr>
          <p:cNvPr id="43" name="Freeform 10">
            <a:extLst>
              <a:ext uri="{FF2B5EF4-FFF2-40B4-BE49-F238E27FC236}">
                <a16:creationId xmlns:a16="http://schemas.microsoft.com/office/drawing/2014/main" id="{690C1839-07CD-4A5B-A99B-E8EDAA80698D}"/>
              </a:ext>
            </a:extLst>
          </p:cNvPr>
          <p:cNvSpPr>
            <a:spLocks noEditPoints="1"/>
          </p:cNvSpPr>
          <p:nvPr/>
        </p:nvSpPr>
        <p:spPr bwMode="auto">
          <a:xfrm>
            <a:off x="4272342" y="5343560"/>
            <a:ext cx="548979" cy="495758"/>
          </a:xfrm>
          <a:custGeom>
            <a:avLst/>
            <a:gdLst>
              <a:gd name="T0" fmla="*/ 1656 w 1678"/>
              <a:gd name="T1" fmla="*/ 1332 h 1494"/>
              <a:gd name="T2" fmla="*/ 1568 w 1678"/>
              <a:gd name="T3" fmla="*/ 1332 h 1494"/>
              <a:gd name="T4" fmla="*/ 1568 w 1678"/>
              <a:gd name="T5" fmla="*/ 1288 h 1494"/>
              <a:gd name="T6" fmla="*/ 1546 w 1678"/>
              <a:gd name="T7" fmla="*/ 1266 h 1494"/>
              <a:gd name="T8" fmla="*/ 132 w 1678"/>
              <a:gd name="T9" fmla="*/ 1266 h 1494"/>
              <a:gd name="T10" fmla="*/ 110 w 1678"/>
              <a:gd name="T11" fmla="*/ 1288 h 1494"/>
              <a:gd name="T12" fmla="*/ 110 w 1678"/>
              <a:gd name="T13" fmla="*/ 1332 h 1494"/>
              <a:gd name="T14" fmla="*/ 22 w 1678"/>
              <a:gd name="T15" fmla="*/ 1332 h 1494"/>
              <a:gd name="T16" fmla="*/ 0 w 1678"/>
              <a:gd name="T17" fmla="*/ 1354 h 1494"/>
              <a:gd name="T18" fmla="*/ 0 w 1678"/>
              <a:gd name="T19" fmla="*/ 1472 h 1494"/>
              <a:gd name="T20" fmla="*/ 22 w 1678"/>
              <a:gd name="T21" fmla="*/ 1494 h 1494"/>
              <a:gd name="T22" fmla="*/ 1656 w 1678"/>
              <a:gd name="T23" fmla="*/ 1494 h 1494"/>
              <a:gd name="T24" fmla="*/ 1678 w 1678"/>
              <a:gd name="T25" fmla="*/ 1472 h 1494"/>
              <a:gd name="T26" fmla="*/ 1678 w 1678"/>
              <a:gd name="T27" fmla="*/ 1354 h 1494"/>
              <a:gd name="T28" fmla="*/ 1656 w 1678"/>
              <a:gd name="T29" fmla="*/ 1332 h 1494"/>
              <a:gd name="T30" fmla="*/ 1645 w 1678"/>
              <a:gd name="T31" fmla="*/ 375 h 1494"/>
              <a:gd name="T32" fmla="*/ 1314 w 1678"/>
              <a:gd name="T33" fmla="*/ 375 h 1494"/>
              <a:gd name="T34" fmla="*/ 1147 w 1678"/>
              <a:gd name="T35" fmla="*/ 109 h 1494"/>
              <a:gd name="T36" fmla="*/ 839 w 1678"/>
              <a:gd name="T37" fmla="*/ 0 h 1494"/>
              <a:gd name="T38" fmla="*/ 532 w 1678"/>
              <a:gd name="T39" fmla="*/ 108 h 1494"/>
              <a:gd name="T40" fmla="*/ 364 w 1678"/>
              <a:gd name="T41" fmla="*/ 375 h 1494"/>
              <a:gd name="T42" fmla="*/ 33 w 1678"/>
              <a:gd name="T43" fmla="*/ 375 h 1494"/>
              <a:gd name="T44" fmla="*/ 11 w 1678"/>
              <a:gd name="T45" fmla="*/ 397 h 1494"/>
              <a:gd name="T46" fmla="*/ 11 w 1678"/>
              <a:gd name="T47" fmla="*/ 528 h 1494"/>
              <a:gd name="T48" fmla="*/ 33 w 1678"/>
              <a:gd name="T49" fmla="*/ 550 h 1494"/>
              <a:gd name="T50" fmla="*/ 1645 w 1678"/>
              <a:gd name="T51" fmla="*/ 550 h 1494"/>
              <a:gd name="T52" fmla="*/ 1667 w 1678"/>
              <a:gd name="T53" fmla="*/ 528 h 1494"/>
              <a:gd name="T54" fmla="*/ 1667 w 1678"/>
              <a:gd name="T55" fmla="*/ 397 h 1494"/>
              <a:gd name="T56" fmla="*/ 1645 w 1678"/>
              <a:gd name="T57" fmla="*/ 375 h 1494"/>
              <a:gd name="T58" fmla="*/ 839 w 1678"/>
              <a:gd name="T59" fmla="*/ 44 h 1494"/>
              <a:gd name="T60" fmla="*/ 1269 w 1678"/>
              <a:gd name="T61" fmla="*/ 375 h 1494"/>
              <a:gd name="T62" fmla="*/ 409 w 1678"/>
              <a:gd name="T63" fmla="*/ 375 h 1494"/>
              <a:gd name="T64" fmla="*/ 839 w 1678"/>
              <a:gd name="T65" fmla="*/ 44 h 1494"/>
              <a:gd name="T66" fmla="*/ 1623 w 1678"/>
              <a:gd name="T67" fmla="*/ 506 h 1494"/>
              <a:gd name="T68" fmla="*/ 55 w 1678"/>
              <a:gd name="T69" fmla="*/ 506 h 1494"/>
              <a:gd name="T70" fmla="*/ 55 w 1678"/>
              <a:gd name="T71" fmla="*/ 419 h 1494"/>
              <a:gd name="T72" fmla="*/ 1623 w 1678"/>
              <a:gd name="T73" fmla="*/ 419 h 1494"/>
              <a:gd name="T74" fmla="*/ 1623 w 1678"/>
              <a:gd name="T75" fmla="*/ 506 h 1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78" h="1494">
                <a:moveTo>
                  <a:pt x="1656" y="1332"/>
                </a:moveTo>
                <a:cubicBezTo>
                  <a:pt x="1568" y="1332"/>
                  <a:pt x="1568" y="1332"/>
                  <a:pt x="1568" y="1332"/>
                </a:cubicBezTo>
                <a:cubicBezTo>
                  <a:pt x="1568" y="1288"/>
                  <a:pt x="1568" y="1288"/>
                  <a:pt x="1568" y="1288"/>
                </a:cubicBezTo>
                <a:cubicBezTo>
                  <a:pt x="1568" y="1276"/>
                  <a:pt x="1558" y="1266"/>
                  <a:pt x="1546" y="1266"/>
                </a:cubicBezTo>
                <a:cubicBezTo>
                  <a:pt x="132" y="1266"/>
                  <a:pt x="132" y="1266"/>
                  <a:pt x="132" y="1266"/>
                </a:cubicBezTo>
                <a:cubicBezTo>
                  <a:pt x="120" y="1266"/>
                  <a:pt x="110" y="1276"/>
                  <a:pt x="110" y="1288"/>
                </a:cubicBezTo>
                <a:cubicBezTo>
                  <a:pt x="110" y="1332"/>
                  <a:pt x="110" y="1332"/>
                  <a:pt x="110" y="1332"/>
                </a:cubicBezTo>
                <a:cubicBezTo>
                  <a:pt x="22" y="1332"/>
                  <a:pt x="22" y="1332"/>
                  <a:pt x="22" y="1332"/>
                </a:cubicBezTo>
                <a:cubicBezTo>
                  <a:pt x="10" y="1332"/>
                  <a:pt x="0" y="1342"/>
                  <a:pt x="0" y="1354"/>
                </a:cubicBezTo>
                <a:cubicBezTo>
                  <a:pt x="0" y="1472"/>
                  <a:pt x="0" y="1472"/>
                  <a:pt x="0" y="1472"/>
                </a:cubicBezTo>
                <a:cubicBezTo>
                  <a:pt x="0" y="1484"/>
                  <a:pt x="10" y="1494"/>
                  <a:pt x="22" y="1494"/>
                </a:cubicBezTo>
                <a:cubicBezTo>
                  <a:pt x="1656" y="1494"/>
                  <a:pt x="1656" y="1494"/>
                  <a:pt x="1656" y="1494"/>
                </a:cubicBezTo>
                <a:cubicBezTo>
                  <a:pt x="1668" y="1494"/>
                  <a:pt x="1678" y="1484"/>
                  <a:pt x="1678" y="1472"/>
                </a:cubicBezTo>
                <a:cubicBezTo>
                  <a:pt x="1678" y="1354"/>
                  <a:pt x="1678" y="1354"/>
                  <a:pt x="1678" y="1354"/>
                </a:cubicBezTo>
                <a:cubicBezTo>
                  <a:pt x="1678" y="1342"/>
                  <a:pt x="1668" y="1332"/>
                  <a:pt x="1656" y="1332"/>
                </a:cubicBezTo>
                <a:close/>
                <a:moveTo>
                  <a:pt x="1645" y="375"/>
                </a:moveTo>
                <a:cubicBezTo>
                  <a:pt x="1314" y="375"/>
                  <a:pt x="1314" y="375"/>
                  <a:pt x="1314" y="375"/>
                </a:cubicBezTo>
                <a:cubicBezTo>
                  <a:pt x="1289" y="271"/>
                  <a:pt x="1230" y="177"/>
                  <a:pt x="1147" y="109"/>
                </a:cubicBezTo>
                <a:cubicBezTo>
                  <a:pt x="1060" y="38"/>
                  <a:pt x="951" y="0"/>
                  <a:pt x="839" y="0"/>
                </a:cubicBezTo>
                <a:cubicBezTo>
                  <a:pt x="728" y="0"/>
                  <a:pt x="619" y="38"/>
                  <a:pt x="532" y="108"/>
                </a:cubicBezTo>
                <a:cubicBezTo>
                  <a:pt x="448" y="176"/>
                  <a:pt x="389" y="271"/>
                  <a:pt x="364" y="375"/>
                </a:cubicBezTo>
                <a:cubicBezTo>
                  <a:pt x="33" y="375"/>
                  <a:pt x="33" y="375"/>
                  <a:pt x="33" y="375"/>
                </a:cubicBezTo>
                <a:cubicBezTo>
                  <a:pt x="21" y="375"/>
                  <a:pt x="11" y="385"/>
                  <a:pt x="11" y="397"/>
                </a:cubicBezTo>
                <a:cubicBezTo>
                  <a:pt x="11" y="528"/>
                  <a:pt x="11" y="528"/>
                  <a:pt x="11" y="528"/>
                </a:cubicBezTo>
                <a:cubicBezTo>
                  <a:pt x="11" y="540"/>
                  <a:pt x="21" y="550"/>
                  <a:pt x="33" y="550"/>
                </a:cubicBezTo>
                <a:cubicBezTo>
                  <a:pt x="1645" y="550"/>
                  <a:pt x="1645" y="550"/>
                  <a:pt x="1645" y="550"/>
                </a:cubicBezTo>
                <a:cubicBezTo>
                  <a:pt x="1657" y="550"/>
                  <a:pt x="1667" y="540"/>
                  <a:pt x="1667" y="528"/>
                </a:cubicBezTo>
                <a:cubicBezTo>
                  <a:pt x="1667" y="397"/>
                  <a:pt x="1667" y="397"/>
                  <a:pt x="1667" y="397"/>
                </a:cubicBezTo>
                <a:cubicBezTo>
                  <a:pt x="1667" y="385"/>
                  <a:pt x="1657" y="375"/>
                  <a:pt x="1645" y="375"/>
                </a:cubicBezTo>
                <a:close/>
                <a:moveTo>
                  <a:pt x="839" y="44"/>
                </a:moveTo>
                <a:cubicBezTo>
                  <a:pt x="1040" y="44"/>
                  <a:pt x="1218" y="182"/>
                  <a:pt x="1269" y="375"/>
                </a:cubicBezTo>
                <a:cubicBezTo>
                  <a:pt x="409" y="375"/>
                  <a:pt x="409" y="375"/>
                  <a:pt x="409" y="375"/>
                </a:cubicBezTo>
                <a:cubicBezTo>
                  <a:pt x="460" y="179"/>
                  <a:pt x="635" y="44"/>
                  <a:pt x="839" y="44"/>
                </a:cubicBezTo>
                <a:close/>
                <a:moveTo>
                  <a:pt x="1623" y="506"/>
                </a:moveTo>
                <a:cubicBezTo>
                  <a:pt x="55" y="506"/>
                  <a:pt x="55" y="506"/>
                  <a:pt x="55" y="506"/>
                </a:cubicBezTo>
                <a:cubicBezTo>
                  <a:pt x="55" y="419"/>
                  <a:pt x="55" y="419"/>
                  <a:pt x="55" y="419"/>
                </a:cubicBezTo>
                <a:cubicBezTo>
                  <a:pt x="1623" y="419"/>
                  <a:pt x="1623" y="419"/>
                  <a:pt x="1623" y="419"/>
                </a:cubicBezTo>
                <a:lnTo>
                  <a:pt x="1623" y="506"/>
                </a:lnTo>
                <a:close/>
              </a:path>
            </a:pathLst>
          </a:custGeom>
          <a:solidFill>
            <a:srgbClr val="98A6CC"/>
          </a:solidFill>
          <a:ln>
            <a:noFill/>
          </a:ln>
          <a:extLst/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1000" dirty="0"/>
          </a:p>
        </p:txBody>
      </p:sp>
      <p:sp>
        <p:nvSpPr>
          <p:cNvPr id="44" name="Freeform 11">
            <a:extLst>
              <a:ext uri="{FF2B5EF4-FFF2-40B4-BE49-F238E27FC236}">
                <a16:creationId xmlns:a16="http://schemas.microsoft.com/office/drawing/2014/main" id="{D28EC961-55AD-42D5-BE87-6917C8C8FF97}"/>
              </a:ext>
            </a:extLst>
          </p:cNvPr>
          <p:cNvSpPr>
            <a:spLocks noEditPoints="1"/>
          </p:cNvSpPr>
          <p:nvPr/>
        </p:nvSpPr>
        <p:spPr bwMode="auto">
          <a:xfrm>
            <a:off x="4317217" y="5206744"/>
            <a:ext cx="459229" cy="536998"/>
          </a:xfrm>
          <a:custGeom>
            <a:avLst/>
            <a:gdLst>
              <a:gd name="T0" fmla="*/ 12 w 1404"/>
              <a:gd name="T1" fmla="*/ 1032 h 1618"/>
              <a:gd name="T2" fmla="*/ 105 w 1404"/>
              <a:gd name="T3" fmla="*/ 1022 h 1618"/>
              <a:gd name="T4" fmla="*/ 127 w 1404"/>
              <a:gd name="T5" fmla="*/ 1608 h 1618"/>
              <a:gd name="T6" fmla="*/ 10 w 1404"/>
              <a:gd name="T7" fmla="*/ 1618 h 1618"/>
              <a:gd name="T8" fmla="*/ 1031 w 1404"/>
              <a:gd name="T9" fmla="*/ 1618 h 1618"/>
              <a:gd name="T10" fmla="*/ 1149 w 1404"/>
              <a:gd name="T11" fmla="*/ 1608 h 1618"/>
              <a:gd name="T12" fmla="*/ 1127 w 1404"/>
              <a:gd name="T13" fmla="*/ 1022 h 1618"/>
              <a:gd name="T14" fmla="*/ 1033 w 1404"/>
              <a:gd name="T15" fmla="*/ 1032 h 1618"/>
              <a:gd name="T16" fmla="*/ 1031 w 1404"/>
              <a:gd name="T17" fmla="*/ 1618 h 1618"/>
              <a:gd name="T18" fmla="*/ 1394 w 1404"/>
              <a:gd name="T19" fmla="*/ 1618 h 1618"/>
              <a:gd name="T20" fmla="*/ 1392 w 1404"/>
              <a:gd name="T21" fmla="*/ 1032 h 1618"/>
              <a:gd name="T22" fmla="*/ 1299 w 1404"/>
              <a:gd name="T23" fmla="*/ 1022 h 1618"/>
              <a:gd name="T24" fmla="*/ 1277 w 1404"/>
              <a:gd name="T25" fmla="*/ 1608 h 1618"/>
              <a:gd name="T26" fmla="*/ 776 w 1404"/>
              <a:gd name="T27" fmla="*/ 1618 h 1618"/>
              <a:gd name="T28" fmla="*/ 894 w 1404"/>
              <a:gd name="T29" fmla="*/ 1608 h 1618"/>
              <a:gd name="T30" fmla="*/ 871 w 1404"/>
              <a:gd name="T31" fmla="*/ 1022 h 1618"/>
              <a:gd name="T32" fmla="*/ 778 w 1404"/>
              <a:gd name="T33" fmla="*/ 1032 h 1618"/>
              <a:gd name="T34" fmla="*/ 776 w 1404"/>
              <a:gd name="T35" fmla="*/ 1618 h 1618"/>
              <a:gd name="T36" fmla="*/ 628 w 1404"/>
              <a:gd name="T37" fmla="*/ 1618 h 1618"/>
              <a:gd name="T38" fmla="*/ 626 w 1404"/>
              <a:gd name="T39" fmla="*/ 1032 h 1618"/>
              <a:gd name="T40" fmla="*/ 533 w 1404"/>
              <a:gd name="T41" fmla="*/ 1022 h 1618"/>
              <a:gd name="T42" fmla="*/ 510 w 1404"/>
              <a:gd name="T43" fmla="*/ 1608 h 1618"/>
              <a:gd name="T44" fmla="*/ 265 w 1404"/>
              <a:gd name="T45" fmla="*/ 1618 h 1618"/>
              <a:gd name="T46" fmla="*/ 383 w 1404"/>
              <a:gd name="T47" fmla="*/ 1608 h 1618"/>
              <a:gd name="T48" fmla="*/ 361 w 1404"/>
              <a:gd name="T49" fmla="*/ 1022 h 1618"/>
              <a:gd name="T50" fmla="*/ 267 w 1404"/>
              <a:gd name="T51" fmla="*/ 1032 h 1618"/>
              <a:gd name="T52" fmla="*/ 265 w 1404"/>
              <a:gd name="T53" fmla="*/ 1618 h 1618"/>
              <a:gd name="T54" fmla="*/ 702 w 1404"/>
              <a:gd name="T55" fmla="*/ 368 h 1618"/>
              <a:gd name="T56" fmla="*/ 727 w 1404"/>
              <a:gd name="T57" fmla="*/ 200 h 1618"/>
              <a:gd name="T58" fmla="*/ 1036 w 1404"/>
              <a:gd name="T59" fmla="*/ 193 h 1618"/>
              <a:gd name="T60" fmla="*/ 959 w 1404"/>
              <a:gd name="T61" fmla="*/ 101 h 1618"/>
              <a:gd name="T62" fmla="*/ 1040 w 1404"/>
              <a:gd name="T63" fmla="*/ 11 h 1618"/>
              <a:gd name="T64" fmla="*/ 720 w 1404"/>
              <a:gd name="T65" fmla="*/ 0 h 1618"/>
              <a:gd name="T66" fmla="*/ 681 w 1404"/>
              <a:gd name="T67" fmla="*/ 0 h 1618"/>
              <a:gd name="T68" fmla="*/ 675 w 1404"/>
              <a:gd name="T69" fmla="*/ 193 h 1618"/>
              <a:gd name="T70" fmla="*/ 675 w 1404"/>
              <a:gd name="T71" fmla="*/ 368 h 1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04" h="1618">
                <a:moveTo>
                  <a:pt x="0" y="1608"/>
                </a:moveTo>
                <a:cubicBezTo>
                  <a:pt x="12" y="1032"/>
                  <a:pt x="12" y="1032"/>
                  <a:pt x="12" y="1032"/>
                </a:cubicBezTo>
                <a:cubicBezTo>
                  <a:pt x="12" y="1027"/>
                  <a:pt x="16" y="1022"/>
                  <a:pt x="22" y="1022"/>
                </a:cubicBezTo>
                <a:cubicBezTo>
                  <a:pt x="105" y="1022"/>
                  <a:pt x="105" y="1022"/>
                  <a:pt x="105" y="1022"/>
                </a:cubicBezTo>
                <a:cubicBezTo>
                  <a:pt x="111" y="1022"/>
                  <a:pt x="115" y="1027"/>
                  <a:pt x="115" y="1032"/>
                </a:cubicBezTo>
                <a:cubicBezTo>
                  <a:pt x="127" y="1608"/>
                  <a:pt x="127" y="1608"/>
                  <a:pt x="127" y="1608"/>
                </a:cubicBezTo>
                <a:cubicBezTo>
                  <a:pt x="127" y="1613"/>
                  <a:pt x="123" y="1618"/>
                  <a:pt x="117" y="1618"/>
                </a:cubicBezTo>
                <a:cubicBezTo>
                  <a:pt x="10" y="1618"/>
                  <a:pt x="10" y="1618"/>
                  <a:pt x="10" y="1618"/>
                </a:cubicBezTo>
                <a:cubicBezTo>
                  <a:pt x="4" y="1618"/>
                  <a:pt x="0" y="1613"/>
                  <a:pt x="0" y="1608"/>
                </a:cubicBezTo>
                <a:close/>
                <a:moveTo>
                  <a:pt x="1031" y="1618"/>
                </a:moveTo>
                <a:cubicBezTo>
                  <a:pt x="1139" y="1618"/>
                  <a:pt x="1139" y="1618"/>
                  <a:pt x="1139" y="1618"/>
                </a:cubicBezTo>
                <a:cubicBezTo>
                  <a:pt x="1144" y="1618"/>
                  <a:pt x="1149" y="1613"/>
                  <a:pt x="1149" y="1608"/>
                </a:cubicBezTo>
                <a:cubicBezTo>
                  <a:pt x="1137" y="1032"/>
                  <a:pt x="1137" y="1032"/>
                  <a:pt x="1137" y="1032"/>
                </a:cubicBezTo>
                <a:cubicBezTo>
                  <a:pt x="1137" y="1027"/>
                  <a:pt x="1132" y="1022"/>
                  <a:pt x="1127" y="1022"/>
                </a:cubicBezTo>
                <a:cubicBezTo>
                  <a:pt x="1043" y="1022"/>
                  <a:pt x="1043" y="1022"/>
                  <a:pt x="1043" y="1022"/>
                </a:cubicBezTo>
                <a:cubicBezTo>
                  <a:pt x="1038" y="1022"/>
                  <a:pt x="1033" y="1027"/>
                  <a:pt x="1033" y="1032"/>
                </a:cubicBezTo>
                <a:cubicBezTo>
                  <a:pt x="1021" y="1608"/>
                  <a:pt x="1021" y="1608"/>
                  <a:pt x="1021" y="1608"/>
                </a:cubicBezTo>
                <a:cubicBezTo>
                  <a:pt x="1021" y="1613"/>
                  <a:pt x="1026" y="1618"/>
                  <a:pt x="1031" y="1618"/>
                </a:cubicBezTo>
                <a:close/>
                <a:moveTo>
                  <a:pt x="1287" y="1618"/>
                </a:moveTo>
                <a:cubicBezTo>
                  <a:pt x="1394" y="1618"/>
                  <a:pt x="1394" y="1618"/>
                  <a:pt x="1394" y="1618"/>
                </a:cubicBezTo>
                <a:cubicBezTo>
                  <a:pt x="1400" y="1618"/>
                  <a:pt x="1404" y="1613"/>
                  <a:pt x="1404" y="1608"/>
                </a:cubicBezTo>
                <a:cubicBezTo>
                  <a:pt x="1392" y="1032"/>
                  <a:pt x="1392" y="1032"/>
                  <a:pt x="1392" y="1032"/>
                </a:cubicBezTo>
                <a:cubicBezTo>
                  <a:pt x="1392" y="1027"/>
                  <a:pt x="1388" y="1022"/>
                  <a:pt x="1382" y="1022"/>
                </a:cubicBezTo>
                <a:cubicBezTo>
                  <a:pt x="1299" y="1022"/>
                  <a:pt x="1299" y="1022"/>
                  <a:pt x="1299" y="1022"/>
                </a:cubicBezTo>
                <a:cubicBezTo>
                  <a:pt x="1293" y="1022"/>
                  <a:pt x="1289" y="1027"/>
                  <a:pt x="1289" y="1032"/>
                </a:cubicBezTo>
                <a:cubicBezTo>
                  <a:pt x="1277" y="1608"/>
                  <a:pt x="1277" y="1608"/>
                  <a:pt x="1277" y="1608"/>
                </a:cubicBezTo>
                <a:cubicBezTo>
                  <a:pt x="1277" y="1613"/>
                  <a:pt x="1281" y="1618"/>
                  <a:pt x="1287" y="1618"/>
                </a:cubicBezTo>
                <a:close/>
                <a:moveTo>
                  <a:pt x="776" y="1618"/>
                </a:moveTo>
                <a:cubicBezTo>
                  <a:pt x="883" y="1618"/>
                  <a:pt x="883" y="1618"/>
                  <a:pt x="883" y="1618"/>
                </a:cubicBezTo>
                <a:cubicBezTo>
                  <a:pt x="889" y="1618"/>
                  <a:pt x="894" y="1613"/>
                  <a:pt x="894" y="1608"/>
                </a:cubicBezTo>
                <a:cubicBezTo>
                  <a:pt x="881" y="1032"/>
                  <a:pt x="881" y="1032"/>
                  <a:pt x="881" y="1032"/>
                </a:cubicBezTo>
                <a:cubicBezTo>
                  <a:pt x="881" y="1027"/>
                  <a:pt x="877" y="1022"/>
                  <a:pt x="871" y="1022"/>
                </a:cubicBezTo>
                <a:cubicBezTo>
                  <a:pt x="788" y="1022"/>
                  <a:pt x="788" y="1022"/>
                  <a:pt x="788" y="1022"/>
                </a:cubicBezTo>
                <a:cubicBezTo>
                  <a:pt x="782" y="1022"/>
                  <a:pt x="778" y="1027"/>
                  <a:pt x="778" y="1032"/>
                </a:cubicBezTo>
                <a:cubicBezTo>
                  <a:pt x="766" y="1608"/>
                  <a:pt x="766" y="1608"/>
                  <a:pt x="766" y="1608"/>
                </a:cubicBezTo>
                <a:cubicBezTo>
                  <a:pt x="766" y="1613"/>
                  <a:pt x="770" y="1618"/>
                  <a:pt x="776" y="1618"/>
                </a:cubicBezTo>
                <a:close/>
                <a:moveTo>
                  <a:pt x="521" y="1618"/>
                </a:moveTo>
                <a:cubicBezTo>
                  <a:pt x="628" y="1618"/>
                  <a:pt x="628" y="1618"/>
                  <a:pt x="628" y="1618"/>
                </a:cubicBezTo>
                <a:cubicBezTo>
                  <a:pt x="634" y="1618"/>
                  <a:pt x="638" y="1613"/>
                  <a:pt x="638" y="1608"/>
                </a:cubicBezTo>
                <a:cubicBezTo>
                  <a:pt x="626" y="1032"/>
                  <a:pt x="626" y="1032"/>
                  <a:pt x="626" y="1032"/>
                </a:cubicBezTo>
                <a:cubicBezTo>
                  <a:pt x="626" y="1027"/>
                  <a:pt x="622" y="1022"/>
                  <a:pt x="616" y="1022"/>
                </a:cubicBezTo>
                <a:cubicBezTo>
                  <a:pt x="533" y="1022"/>
                  <a:pt x="533" y="1022"/>
                  <a:pt x="533" y="1022"/>
                </a:cubicBezTo>
                <a:cubicBezTo>
                  <a:pt x="527" y="1022"/>
                  <a:pt x="523" y="1027"/>
                  <a:pt x="523" y="1032"/>
                </a:cubicBezTo>
                <a:cubicBezTo>
                  <a:pt x="510" y="1608"/>
                  <a:pt x="510" y="1608"/>
                  <a:pt x="510" y="1608"/>
                </a:cubicBezTo>
                <a:cubicBezTo>
                  <a:pt x="510" y="1613"/>
                  <a:pt x="515" y="1618"/>
                  <a:pt x="521" y="1618"/>
                </a:cubicBezTo>
                <a:close/>
                <a:moveTo>
                  <a:pt x="265" y="1618"/>
                </a:moveTo>
                <a:cubicBezTo>
                  <a:pt x="373" y="1618"/>
                  <a:pt x="373" y="1618"/>
                  <a:pt x="373" y="1618"/>
                </a:cubicBezTo>
                <a:cubicBezTo>
                  <a:pt x="378" y="1618"/>
                  <a:pt x="383" y="1613"/>
                  <a:pt x="383" y="1608"/>
                </a:cubicBezTo>
                <a:cubicBezTo>
                  <a:pt x="371" y="1032"/>
                  <a:pt x="371" y="1032"/>
                  <a:pt x="371" y="1032"/>
                </a:cubicBezTo>
                <a:cubicBezTo>
                  <a:pt x="371" y="1027"/>
                  <a:pt x="366" y="1022"/>
                  <a:pt x="361" y="1022"/>
                </a:cubicBezTo>
                <a:cubicBezTo>
                  <a:pt x="277" y="1022"/>
                  <a:pt x="277" y="1022"/>
                  <a:pt x="277" y="1022"/>
                </a:cubicBezTo>
                <a:cubicBezTo>
                  <a:pt x="272" y="1022"/>
                  <a:pt x="267" y="1027"/>
                  <a:pt x="267" y="1032"/>
                </a:cubicBezTo>
                <a:cubicBezTo>
                  <a:pt x="255" y="1608"/>
                  <a:pt x="255" y="1608"/>
                  <a:pt x="255" y="1608"/>
                </a:cubicBezTo>
                <a:cubicBezTo>
                  <a:pt x="255" y="1613"/>
                  <a:pt x="260" y="1618"/>
                  <a:pt x="265" y="1618"/>
                </a:cubicBezTo>
                <a:close/>
                <a:moveTo>
                  <a:pt x="675" y="368"/>
                </a:moveTo>
                <a:cubicBezTo>
                  <a:pt x="684" y="368"/>
                  <a:pt x="693" y="368"/>
                  <a:pt x="702" y="368"/>
                </a:cubicBezTo>
                <a:cubicBezTo>
                  <a:pt x="710" y="368"/>
                  <a:pt x="718" y="368"/>
                  <a:pt x="727" y="368"/>
                </a:cubicBezTo>
                <a:cubicBezTo>
                  <a:pt x="727" y="200"/>
                  <a:pt x="727" y="200"/>
                  <a:pt x="727" y="200"/>
                </a:cubicBezTo>
                <a:cubicBezTo>
                  <a:pt x="727" y="196"/>
                  <a:pt x="730" y="193"/>
                  <a:pt x="733" y="193"/>
                </a:cubicBezTo>
                <a:cubicBezTo>
                  <a:pt x="1036" y="193"/>
                  <a:pt x="1036" y="193"/>
                  <a:pt x="1036" y="193"/>
                </a:cubicBezTo>
                <a:cubicBezTo>
                  <a:pt x="1042" y="193"/>
                  <a:pt x="1044" y="186"/>
                  <a:pt x="1040" y="182"/>
                </a:cubicBezTo>
                <a:cubicBezTo>
                  <a:pt x="959" y="101"/>
                  <a:pt x="959" y="101"/>
                  <a:pt x="959" y="101"/>
                </a:cubicBezTo>
                <a:cubicBezTo>
                  <a:pt x="957" y="99"/>
                  <a:pt x="957" y="95"/>
                  <a:pt x="959" y="92"/>
                </a:cubicBezTo>
                <a:cubicBezTo>
                  <a:pt x="1040" y="11"/>
                  <a:pt x="1040" y="11"/>
                  <a:pt x="1040" y="11"/>
                </a:cubicBezTo>
                <a:cubicBezTo>
                  <a:pt x="1044" y="7"/>
                  <a:pt x="1042" y="0"/>
                  <a:pt x="1036" y="0"/>
                </a:cubicBezTo>
                <a:cubicBezTo>
                  <a:pt x="720" y="0"/>
                  <a:pt x="720" y="0"/>
                  <a:pt x="720" y="0"/>
                </a:cubicBezTo>
                <a:cubicBezTo>
                  <a:pt x="681" y="0"/>
                  <a:pt x="681" y="0"/>
                  <a:pt x="681" y="0"/>
                </a:cubicBezTo>
                <a:cubicBezTo>
                  <a:pt x="681" y="0"/>
                  <a:pt x="681" y="0"/>
                  <a:pt x="681" y="0"/>
                </a:cubicBezTo>
                <a:cubicBezTo>
                  <a:pt x="678" y="0"/>
                  <a:pt x="675" y="3"/>
                  <a:pt x="675" y="7"/>
                </a:cubicBezTo>
                <a:cubicBezTo>
                  <a:pt x="675" y="193"/>
                  <a:pt x="675" y="193"/>
                  <a:pt x="675" y="193"/>
                </a:cubicBezTo>
                <a:cubicBezTo>
                  <a:pt x="675" y="193"/>
                  <a:pt x="675" y="193"/>
                  <a:pt x="675" y="193"/>
                </a:cubicBezTo>
                <a:lnTo>
                  <a:pt x="675" y="3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1000" dirty="0"/>
          </a:p>
        </p:txBody>
      </p:sp>
      <p:sp>
        <p:nvSpPr>
          <p:cNvPr id="45" name="Rectangle 44"/>
          <p:cNvSpPr/>
          <p:nvPr/>
        </p:nvSpPr>
        <p:spPr>
          <a:xfrm>
            <a:off x="3890973" y="5882213"/>
            <a:ext cx="1270286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Отраслевые </a:t>
            </a:r>
            <a:r>
              <a:rPr lang="ru-RU" sz="1000" dirty="0" err="1">
                <a:solidFill>
                  <a:schemeClr val="tx2"/>
                </a:solidFill>
              </a:rPr>
              <a:t>ФОИВ</a:t>
            </a:r>
            <a:endParaRPr lang="ru-RU" sz="1000" dirty="0">
              <a:solidFill>
                <a:schemeClr val="tx2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101" y="2716788"/>
            <a:ext cx="2356222" cy="541520"/>
          </a:xfrm>
          <a:prstGeom prst="rect">
            <a:avLst/>
          </a:prstGeom>
          <a:ln w="9525" cap="flat" cmpd="sng" algn="ctr">
            <a:solidFill>
              <a:srgbClr val="686F6F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59" name="AutoShape 3"/>
          <p:cNvSpPr>
            <a:spLocks noChangeAspect="1" noChangeArrowheads="1" noTextEdit="1"/>
          </p:cNvSpPr>
          <p:nvPr/>
        </p:nvSpPr>
        <p:spPr bwMode="auto">
          <a:xfrm>
            <a:off x="8745166" y="3812775"/>
            <a:ext cx="648000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Freeform 60"/>
          <p:cNvSpPr>
            <a:spLocks/>
          </p:cNvSpPr>
          <p:nvPr/>
        </p:nvSpPr>
        <p:spPr bwMode="auto">
          <a:xfrm>
            <a:off x="8805691" y="3921075"/>
            <a:ext cx="526950" cy="431400"/>
          </a:xfrm>
          <a:custGeom>
            <a:avLst/>
            <a:gdLst>
              <a:gd name="connsiteX0" fmla="*/ 2318941 w 5576888"/>
              <a:gd name="connsiteY0" fmla="*/ 4000500 h 4565650"/>
              <a:gd name="connsiteX1" fmla="*/ 2384425 w 5576888"/>
              <a:gd name="connsiteY1" fmla="*/ 4065939 h 4565650"/>
              <a:gd name="connsiteX2" fmla="*/ 2384425 w 5576888"/>
              <a:gd name="connsiteY2" fmla="*/ 4274152 h 4565650"/>
              <a:gd name="connsiteX3" fmla="*/ 2318941 w 5576888"/>
              <a:gd name="connsiteY3" fmla="*/ 4339590 h 4565650"/>
              <a:gd name="connsiteX4" fmla="*/ 1705769 w 5576888"/>
              <a:gd name="connsiteY4" fmla="*/ 4339590 h 4565650"/>
              <a:gd name="connsiteX5" fmla="*/ 1705769 w 5576888"/>
              <a:gd name="connsiteY5" fmla="*/ 4434773 h 4565650"/>
              <a:gd name="connsiteX6" fmla="*/ 3896519 w 5576888"/>
              <a:gd name="connsiteY6" fmla="*/ 4434773 h 4565650"/>
              <a:gd name="connsiteX7" fmla="*/ 3896519 w 5576888"/>
              <a:gd name="connsiteY7" fmla="*/ 4339590 h 4565650"/>
              <a:gd name="connsiteX8" fmla="*/ 3289301 w 5576888"/>
              <a:gd name="connsiteY8" fmla="*/ 4339590 h 4565650"/>
              <a:gd name="connsiteX9" fmla="*/ 3223816 w 5576888"/>
              <a:gd name="connsiteY9" fmla="*/ 4274152 h 4565650"/>
              <a:gd name="connsiteX10" fmla="*/ 3223816 w 5576888"/>
              <a:gd name="connsiteY10" fmla="*/ 4065939 h 4565650"/>
              <a:gd name="connsiteX11" fmla="*/ 3289301 w 5576888"/>
              <a:gd name="connsiteY11" fmla="*/ 4000500 h 4565650"/>
              <a:gd name="connsiteX12" fmla="*/ 3354785 w 5576888"/>
              <a:gd name="connsiteY12" fmla="*/ 4065939 h 4565650"/>
              <a:gd name="connsiteX13" fmla="*/ 3354785 w 5576888"/>
              <a:gd name="connsiteY13" fmla="*/ 4208713 h 4565650"/>
              <a:gd name="connsiteX14" fmla="*/ 3962004 w 5576888"/>
              <a:gd name="connsiteY14" fmla="*/ 4208713 h 4565650"/>
              <a:gd name="connsiteX15" fmla="*/ 4027488 w 5576888"/>
              <a:gd name="connsiteY15" fmla="*/ 4274152 h 4565650"/>
              <a:gd name="connsiteX16" fmla="*/ 4027488 w 5576888"/>
              <a:gd name="connsiteY16" fmla="*/ 4500212 h 4565650"/>
              <a:gd name="connsiteX17" fmla="*/ 3962004 w 5576888"/>
              <a:gd name="connsiteY17" fmla="*/ 4565650 h 4565650"/>
              <a:gd name="connsiteX18" fmla="*/ 1640285 w 5576888"/>
              <a:gd name="connsiteY18" fmla="*/ 4565650 h 4565650"/>
              <a:gd name="connsiteX19" fmla="*/ 1574800 w 5576888"/>
              <a:gd name="connsiteY19" fmla="*/ 4500212 h 4565650"/>
              <a:gd name="connsiteX20" fmla="*/ 1574800 w 5576888"/>
              <a:gd name="connsiteY20" fmla="*/ 4274152 h 4565650"/>
              <a:gd name="connsiteX21" fmla="*/ 1640285 w 5576888"/>
              <a:gd name="connsiteY21" fmla="*/ 4208713 h 4565650"/>
              <a:gd name="connsiteX22" fmla="*/ 2253457 w 5576888"/>
              <a:gd name="connsiteY22" fmla="*/ 4208713 h 4565650"/>
              <a:gd name="connsiteX23" fmla="*/ 2253457 w 5576888"/>
              <a:gd name="connsiteY23" fmla="*/ 4065939 h 4565650"/>
              <a:gd name="connsiteX24" fmla="*/ 2318941 w 5576888"/>
              <a:gd name="connsiteY24" fmla="*/ 4000500 h 4565650"/>
              <a:gd name="connsiteX25" fmla="*/ 142875 w 5576888"/>
              <a:gd name="connsiteY25" fmla="*/ 3384550 h 4565650"/>
              <a:gd name="connsiteX26" fmla="*/ 142875 w 5576888"/>
              <a:gd name="connsiteY26" fmla="*/ 3762375 h 4565650"/>
              <a:gd name="connsiteX27" fmla="*/ 5457825 w 5576888"/>
              <a:gd name="connsiteY27" fmla="*/ 3762375 h 4565650"/>
              <a:gd name="connsiteX28" fmla="*/ 5457825 w 5576888"/>
              <a:gd name="connsiteY28" fmla="*/ 3384550 h 4565650"/>
              <a:gd name="connsiteX29" fmla="*/ 142875 w 5576888"/>
              <a:gd name="connsiteY29" fmla="*/ 3384550 h 4565650"/>
              <a:gd name="connsiteX30" fmla="*/ 130175 w 5576888"/>
              <a:gd name="connsiteY30" fmla="*/ 130175 h 4565650"/>
              <a:gd name="connsiteX31" fmla="*/ 130175 w 5576888"/>
              <a:gd name="connsiteY31" fmla="*/ 3252788 h 4565650"/>
              <a:gd name="connsiteX32" fmla="*/ 5446713 w 5576888"/>
              <a:gd name="connsiteY32" fmla="*/ 3252788 h 4565650"/>
              <a:gd name="connsiteX33" fmla="*/ 5446713 w 5576888"/>
              <a:gd name="connsiteY33" fmla="*/ 130175 h 4565650"/>
              <a:gd name="connsiteX34" fmla="*/ 130175 w 5576888"/>
              <a:gd name="connsiteY34" fmla="*/ 130175 h 4565650"/>
              <a:gd name="connsiteX35" fmla="*/ 65471 w 5576888"/>
              <a:gd name="connsiteY35" fmla="*/ 0 h 4565650"/>
              <a:gd name="connsiteX36" fmla="*/ 5511417 w 5576888"/>
              <a:gd name="connsiteY36" fmla="*/ 0 h 4565650"/>
              <a:gd name="connsiteX37" fmla="*/ 5576888 w 5576888"/>
              <a:gd name="connsiteY37" fmla="*/ 65471 h 4565650"/>
              <a:gd name="connsiteX38" fmla="*/ 5576888 w 5576888"/>
              <a:gd name="connsiteY38" fmla="*/ 3827079 h 4565650"/>
              <a:gd name="connsiteX39" fmla="*/ 5511417 w 5576888"/>
              <a:gd name="connsiteY39" fmla="*/ 3892550 h 4565650"/>
              <a:gd name="connsiteX40" fmla="*/ 65471 w 5576888"/>
              <a:gd name="connsiteY40" fmla="*/ 3892550 h 4565650"/>
              <a:gd name="connsiteX41" fmla="*/ 0 w 5576888"/>
              <a:gd name="connsiteY41" fmla="*/ 3827079 h 4565650"/>
              <a:gd name="connsiteX42" fmla="*/ 0 w 5576888"/>
              <a:gd name="connsiteY42" fmla="*/ 65471 h 4565650"/>
              <a:gd name="connsiteX43" fmla="*/ 65471 w 5576888"/>
              <a:gd name="connsiteY43" fmla="*/ 0 h 4565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576888" h="4565650">
                <a:moveTo>
                  <a:pt x="2318941" y="4000500"/>
                </a:moveTo>
                <a:cubicBezTo>
                  <a:pt x="2354660" y="4000500"/>
                  <a:pt x="2384425" y="4030245"/>
                  <a:pt x="2384425" y="4065939"/>
                </a:cubicBezTo>
                <a:cubicBezTo>
                  <a:pt x="2384425" y="4274152"/>
                  <a:pt x="2384425" y="4274152"/>
                  <a:pt x="2384425" y="4274152"/>
                </a:cubicBezTo>
                <a:cubicBezTo>
                  <a:pt x="2384425" y="4309845"/>
                  <a:pt x="2354660" y="4339590"/>
                  <a:pt x="2318941" y="4339590"/>
                </a:cubicBezTo>
                <a:cubicBezTo>
                  <a:pt x="1705769" y="4339590"/>
                  <a:pt x="1705769" y="4339590"/>
                  <a:pt x="1705769" y="4339590"/>
                </a:cubicBezTo>
                <a:cubicBezTo>
                  <a:pt x="1705769" y="4434773"/>
                  <a:pt x="1705769" y="4434773"/>
                  <a:pt x="1705769" y="4434773"/>
                </a:cubicBezTo>
                <a:cubicBezTo>
                  <a:pt x="3896519" y="4434773"/>
                  <a:pt x="3896519" y="4434773"/>
                  <a:pt x="3896519" y="4434773"/>
                </a:cubicBezTo>
                <a:cubicBezTo>
                  <a:pt x="3896519" y="4339590"/>
                  <a:pt x="3896519" y="4339590"/>
                  <a:pt x="3896519" y="4339590"/>
                </a:cubicBezTo>
                <a:cubicBezTo>
                  <a:pt x="3289301" y="4339590"/>
                  <a:pt x="3289301" y="4339590"/>
                  <a:pt x="3289301" y="4339590"/>
                </a:cubicBezTo>
                <a:cubicBezTo>
                  <a:pt x="3253582" y="4339590"/>
                  <a:pt x="3223816" y="4309845"/>
                  <a:pt x="3223816" y="4274152"/>
                </a:cubicBezTo>
                <a:cubicBezTo>
                  <a:pt x="3223816" y="4065939"/>
                  <a:pt x="3223816" y="4065939"/>
                  <a:pt x="3223816" y="4065939"/>
                </a:cubicBezTo>
                <a:cubicBezTo>
                  <a:pt x="3223816" y="4030245"/>
                  <a:pt x="3253582" y="4000500"/>
                  <a:pt x="3289301" y="4000500"/>
                </a:cubicBezTo>
                <a:cubicBezTo>
                  <a:pt x="3327996" y="4000500"/>
                  <a:pt x="3354785" y="4030245"/>
                  <a:pt x="3354785" y="4065939"/>
                </a:cubicBezTo>
                <a:cubicBezTo>
                  <a:pt x="3354785" y="4208713"/>
                  <a:pt x="3354785" y="4208713"/>
                  <a:pt x="3354785" y="4208713"/>
                </a:cubicBezTo>
                <a:cubicBezTo>
                  <a:pt x="3962004" y="4208713"/>
                  <a:pt x="3962004" y="4208713"/>
                  <a:pt x="3962004" y="4208713"/>
                </a:cubicBezTo>
                <a:cubicBezTo>
                  <a:pt x="3997722" y="4208713"/>
                  <a:pt x="4027488" y="4238458"/>
                  <a:pt x="4027488" y="4274152"/>
                </a:cubicBezTo>
                <a:cubicBezTo>
                  <a:pt x="4027488" y="4500212"/>
                  <a:pt x="4027488" y="4500212"/>
                  <a:pt x="4027488" y="4500212"/>
                </a:cubicBezTo>
                <a:cubicBezTo>
                  <a:pt x="4027488" y="4535905"/>
                  <a:pt x="3997722" y="4565650"/>
                  <a:pt x="3962004" y="4565650"/>
                </a:cubicBezTo>
                <a:cubicBezTo>
                  <a:pt x="1640285" y="4565650"/>
                  <a:pt x="1640285" y="4565650"/>
                  <a:pt x="1640285" y="4565650"/>
                </a:cubicBezTo>
                <a:cubicBezTo>
                  <a:pt x="1604566" y="4565650"/>
                  <a:pt x="1574800" y="4535905"/>
                  <a:pt x="1574800" y="4500212"/>
                </a:cubicBezTo>
                <a:cubicBezTo>
                  <a:pt x="1574800" y="4274152"/>
                  <a:pt x="1574800" y="4274152"/>
                  <a:pt x="1574800" y="4274152"/>
                </a:cubicBezTo>
                <a:cubicBezTo>
                  <a:pt x="1574800" y="4238458"/>
                  <a:pt x="1604566" y="4208713"/>
                  <a:pt x="1640285" y="4208713"/>
                </a:cubicBezTo>
                <a:cubicBezTo>
                  <a:pt x="2253457" y="4208713"/>
                  <a:pt x="2253457" y="4208713"/>
                  <a:pt x="2253457" y="4208713"/>
                </a:cubicBezTo>
                <a:cubicBezTo>
                  <a:pt x="2253457" y="4065939"/>
                  <a:pt x="2253457" y="4065939"/>
                  <a:pt x="2253457" y="4065939"/>
                </a:cubicBezTo>
                <a:cubicBezTo>
                  <a:pt x="2253457" y="4030245"/>
                  <a:pt x="2283222" y="4000500"/>
                  <a:pt x="2318941" y="4000500"/>
                </a:cubicBezTo>
                <a:close/>
                <a:moveTo>
                  <a:pt x="142875" y="3384550"/>
                </a:moveTo>
                <a:cubicBezTo>
                  <a:pt x="142875" y="3384550"/>
                  <a:pt x="142875" y="3384550"/>
                  <a:pt x="142875" y="3762375"/>
                </a:cubicBezTo>
                <a:cubicBezTo>
                  <a:pt x="142875" y="3762375"/>
                  <a:pt x="142875" y="3762375"/>
                  <a:pt x="5457825" y="3762375"/>
                </a:cubicBezTo>
                <a:cubicBezTo>
                  <a:pt x="5457825" y="3762375"/>
                  <a:pt x="5457825" y="3762375"/>
                  <a:pt x="5457825" y="3384550"/>
                </a:cubicBezTo>
                <a:cubicBezTo>
                  <a:pt x="5457825" y="3384550"/>
                  <a:pt x="5457825" y="3384550"/>
                  <a:pt x="142875" y="3384550"/>
                </a:cubicBezTo>
                <a:close/>
                <a:moveTo>
                  <a:pt x="130175" y="130175"/>
                </a:moveTo>
                <a:cubicBezTo>
                  <a:pt x="130175" y="130175"/>
                  <a:pt x="130175" y="130175"/>
                  <a:pt x="130175" y="3252788"/>
                </a:cubicBezTo>
                <a:cubicBezTo>
                  <a:pt x="130175" y="3252788"/>
                  <a:pt x="130175" y="3252788"/>
                  <a:pt x="5446713" y="3252788"/>
                </a:cubicBezTo>
                <a:cubicBezTo>
                  <a:pt x="5446713" y="3252788"/>
                  <a:pt x="5446713" y="3252788"/>
                  <a:pt x="5446713" y="130175"/>
                </a:cubicBezTo>
                <a:cubicBezTo>
                  <a:pt x="5446713" y="130175"/>
                  <a:pt x="5446713" y="130175"/>
                  <a:pt x="130175" y="130175"/>
                </a:cubicBezTo>
                <a:close/>
                <a:moveTo>
                  <a:pt x="65471" y="0"/>
                </a:moveTo>
                <a:cubicBezTo>
                  <a:pt x="65471" y="0"/>
                  <a:pt x="65471" y="0"/>
                  <a:pt x="5511417" y="0"/>
                </a:cubicBezTo>
                <a:cubicBezTo>
                  <a:pt x="5547129" y="0"/>
                  <a:pt x="5576888" y="29760"/>
                  <a:pt x="5576888" y="65471"/>
                </a:cubicBezTo>
                <a:cubicBezTo>
                  <a:pt x="5576888" y="65471"/>
                  <a:pt x="5576888" y="65471"/>
                  <a:pt x="5576888" y="3827079"/>
                </a:cubicBezTo>
                <a:cubicBezTo>
                  <a:pt x="5576888" y="3862791"/>
                  <a:pt x="5547129" y="3892550"/>
                  <a:pt x="5511417" y="3892550"/>
                </a:cubicBezTo>
                <a:cubicBezTo>
                  <a:pt x="5511417" y="3892550"/>
                  <a:pt x="5511417" y="3892550"/>
                  <a:pt x="65471" y="3892550"/>
                </a:cubicBezTo>
                <a:cubicBezTo>
                  <a:pt x="29759" y="3892550"/>
                  <a:pt x="0" y="3862791"/>
                  <a:pt x="0" y="3827079"/>
                </a:cubicBezTo>
                <a:cubicBezTo>
                  <a:pt x="0" y="3827079"/>
                  <a:pt x="0" y="3827079"/>
                  <a:pt x="0" y="65471"/>
                </a:cubicBezTo>
                <a:cubicBezTo>
                  <a:pt x="0" y="29760"/>
                  <a:pt x="29759" y="0"/>
                  <a:pt x="65471" y="0"/>
                </a:cubicBezTo>
                <a:close/>
              </a:path>
            </a:pathLst>
          </a:custGeom>
          <a:solidFill>
            <a:srgbClr val="9A9A9A">
              <a:lumMod val="100000"/>
            </a:srgbClr>
          </a:solidFill>
          <a:ln>
            <a:noFill/>
          </a:ln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62" name="Freeform 61"/>
          <p:cNvSpPr>
            <a:spLocks/>
          </p:cNvSpPr>
          <p:nvPr/>
        </p:nvSpPr>
        <p:spPr bwMode="auto">
          <a:xfrm>
            <a:off x="8832091" y="3948675"/>
            <a:ext cx="474150" cy="322200"/>
          </a:xfrm>
          <a:custGeom>
            <a:avLst/>
            <a:gdLst>
              <a:gd name="connsiteX0" fmla="*/ 2520950 w 5018088"/>
              <a:gd name="connsiteY0" fmla="*/ 3148013 h 3409951"/>
              <a:gd name="connsiteX1" fmla="*/ 2654300 w 5018088"/>
              <a:gd name="connsiteY1" fmla="*/ 3278982 h 3409951"/>
              <a:gd name="connsiteX2" fmla="*/ 2520950 w 5018088"/>
              <a:gd name="connsiteY2" fmla="*/ 3409951 h 3409951"/>
              <a:gd name="connsiteX3" fmla="*/ 2387600 w 5018088"/>
              <a:gd name="connsiteY3" fmla="*/ 3278982 h 3409951"/>
              <a:gd name="connsiteX4" fmla="*/ 2520950 w 5018088"/>
              <a:gd name="connsiteY4" fmla="*/ 3148013 h 3409951"/>
              <a:gd name="connsiteX5" fmla="*/ 3087688 w 5018088"/>
              <a:gd name="connsiteY5" fmla="*/ 2178050 h 3409951"/>
              <a:gd name="connsiteX6" fmla="*/ 3211513 w 5018088"/>
              <a:gd name="connsiteY6" fmla="*/ 2301875 h 3409951"/>
              <a:gd name="connsiteX7" fmla="*/ 3087688 w 5018088"/>
              <a:gd name="connsiteY7" fmla="*/ 2425700 h 3409951"/>
              <a:gd name="connsiteX8" fmla="*/ 2963863 w 5018088"/>
              <a:gd name="connsiteY8" fmla="*/ 2301875 h 3409951"/>
              <a:gd name="connsiteX9" fmla="*/ 3087688 w 5018088"/>
              <a:gd name="connsiteY9" fmla="*/ 2178050 h 3409951"/>
              <a:gd name="connsiteX10" fmla="*/ 1992313 w 5018088"/>
              <a:gd name="connsiteY10" fmla="*/ 2178050 h 3409951"/>
              <a:gd name="connsiteX11" fmla="*/ 2116138 w 5018088"/>
              <a:gd name="connsiteY11" fmla="*/ 2301875 h 3409951"/>
              <a:gd name="connsiteX12" fmla="*/ 1992313 w 5018088"/>
              <a:gd name="connsiteY12" fmla="*/ 2425700 h 3409951"/>
              <a:gd name="connsiteX13" fmla="*/ 1868488 w 5018088"/>
              <a:gd name="connsiteY13" fmla="*/ 2301875 h 3409951"/>
              <a:gd name="connsiteX14" fmla="*/ 1992313 w 5018088"/>
              <a:gd name="connsiteY14" fmla="*/ 2178050 h 3409951"/>
              <a:gd name="connsiteX15" fmla="*/ 3088482 w 5018088"/>
              <a:gd name="connsiteY15" fmla="*/ 2119313 h 3409951"/>
              <a:gd name="connsiteX16" fmla="*/ 2908300 w 5018088"/>
              <a:gd name="connsiteY16" fmla="*/ 2300288 h 3409951"/>
              <a:gd name="connsiteX17" fmla="*/ 3088482 w 5018088"/>
              <a:gd name="connsiteY17" fmla="*/ 2481263 h 3409951"/>
              <a:gd name="connsiteX18" fmla="*/ 3268664 w 5018088"/>
              <a:gd name="connsiteY18" fmla="*/ 2300288 h 3409951"/>
              <a:gd name="connsiteX19" fmla="*/ 3088482 w 5018088"/>
              <a:gd name="connsiteY19" fmla="*/ 2119313 h 3409951"/>
              <a:gd name="connsiteX20" fmla="*/ 1993107 w 5018088"/>
              <a:gd name="connsiteY20" fmla="*/ 2119313 h 3409951"/>
              <a:gd name="connsiteX21" fmla="*/ 1812925 w 5018088"/>
              <a:gd name="connsiteY21" fmla="*/ 2300288 h 3409951"/>
              <a:gd name="connsiteX22" fmla="*/ 1993107 w 5018088"/>
              <a:gd name="connsiteY22" fmla="*/ 2481263 h 3409951"/>
              <a:gd name="connsiteX23" fmla="*/ 2173289 w 5018088"/>
              <a:gd name="connsiteY23" fmla="*/ 2300288 h 3409951"/>
              <a:gd name="connsiteX24" fmla="*/ 1993107 w 5018088"/>
              <a:gd name="connsiteY24" fmla="*/ 2119313 h 3409951"/>
              <a:gd name="connsiteX25" fmla="*/ 2767799 w 5018088"/>
              <a:gd name="connsiteY25" fmla="*/ 1433513 h 3409951"/>
              <a:gd name="connsiteX26" fmla="*/ 3074201 w 5018088"/>
              <a:gd name="connsiteY26" fmla="*/ 1433513 h 3409951"/>
              <a:gd name="connsiteX27" fmla="*/ 3086100 w 5018088"/>
              <a:gd name="connsiteY27" fmla="*/ 1448416 h 3409951"/>
              <a:gd name="connsiteX28" fmla="*/ 3086100 w 5018088"/>
              <a:gd name="connsiteY28" fmla="*/ 1564660 h 3409951"/>
              <a:gd name="connsiteX29" fmla="*/ 3074201 w 5018088"/>
              <a:gd name="connsiteY29" fmla="*/ 1579563 h 3409951"/>
              <a:gd name="connsiteX30" fmla="*/ 2767799 w 5018088"/>
              <a:gd name="connsiteY30" fmla="*/ 1579563 h 3409951"/>
              <a:gd name="connsiteX31" fmla="*/ 2755900 w 5018088"/>
              <a:gd name="connsiteY31" fmla="*/ 1564660 h 3409951"/>
              <a:gd name="connsiteX32" fmla="*/ 2755900 w 5018088"/>
              <a:gd name="connsiteY32" fmla="*/ 1448416 h 3409951"/>
              <a:gd name="connsiteX33" fmla="*/ 2767799 w 5018088"/>
              <a:gd name="connsiteY33" fmla="*/ 1433513 h 3409951"/>
              <a:gd name="connsiteX34" fmla="*/ 2336043 w 5018088"/>
              <a:gd name="connsiteY34" fmla="*/ 1433513 h 3409951"/>
              <a:gd name="connsiteX35" fmla="*/ 2634610 w 5018088"/>
              <a:gd name="connsiteY35" fmla="*/ 1433513 h 3409951"/>
              <a:gd name="connsiteX36" fmla="*/ 2649538 w 5018088"/>
              <a:gd name="connsiteY36" fmla="*/ 1448416 h 3409951"/>
              <a:gd name="connsiteX37" fmla="*/ 2649538 w 5018088"/>
              <a:gd name="connsiteY37" fmla="*/ 1564660 h 3409951"/>
              <a:gd name="connsiteX38" fmla="*/ 2634610 w 5018088"/>
              <a:gd name="connsiteY38" fmla="*/ 1579563 h 3409951"/>
              <a:gd name="connsiteX39" fmla="*/ 2336043 w 5018088"/>
              <a:gd name="connsiteY39" fmla="*/ 1579563 h 3409951"/>
              <a:gd name="connsiteX40" fmla="*/ 2324100 w 5018088"/>
              <a:gd name="connsiteY40" fmla="*/ 1564660 h 3409951"/>
              <a:gd name="connsiteX41" fmla="*/ 2324100 w 5018088"/>
              <a:gd name="connsiteY41" fmla="*/ 1448416 h 3409951"/>
              <a:gd name="connsiteX42" fmla="*/ 2336043 w 5018088"/>
              <a:gd name="connsiteY42" fmla="*/ 1433513 h 3409951"/>
              <a:gd name="connsiteX43" fmla="*/ 2767799 w 5018088"/>
              <a:gd name="connsiteY43" fmla="*/ 1123950 h 3409951"/>
              <a:gd name="connsiteX44" fmla="*/ 3074201 w 5018088"/>
              <a:gd name="connsiteY44" fmla="*/ 1123950 h 3409951"/>
              <a:gd name="connsiteX45" fmla="*/ 3086100 w 5018088"/>
              <a:gd name="connsiteY45" fmla="*/ 1138853 h 3409951"/>
              <a:gd name="connsiteX46" fmla="*/ 3086100 w 5018088"/>
              <a:gd name="connsiteY46" fmla="*/ 1258078 h 3409951"/>
              <a:gd name="connsiteX47" fmla="*/ 3074201 w 5018088"/>
              <a:gd name="connsiteY47" fmla="*/ 1270000 h 3409951"/>
              <a:gd name="connsiteX48" fmla="*/ 2767799 w 5018088"/>
              <a:gd name="connsiteY48" fmla="*/ 1270000 h 3409951"/>
              <a:gd name="connsiteX49" fmla="*/ 2755900 w 5018088"/>
              <a:gd name="connsiteY49" fmla="*/ 1258078 h 3409951"/>
              <a:gd name="connsiteX50" fmla="*/ 2755900 w 5018088"/>
              <a:gd name="connsiteY50" fmla="*/ 1138853 h 3409951"/>
              <a:gd name="connsiteX51" fmla="*/ 2767799 w 5018088"/>
              <a:gd name="connsiteY51" fmla="*/ 1123950 h 3409951"/>
              <a:gd name="connsiteX52" fmla="*/ 2336043 w 5018088"/>
              <a:gd name="connsiteY52" fmla="*/ 1123950 h 3409951"/>
              <a:gd name="connsiteX53" fmla="*/ 2634610 w 5018088"/>
              <a:gd name="connsiteY53" fmla="*/ 1123950 h 3409951"/>
              <a:gd name="connsiteX54" fmla="*/ 2649538 w 5018088"/>
              <a:gd name="connsiteY54" fmla="*/ 1138853 h 3409951"/>
              <a:gd name="connsiteX55" fmla="*/ 2649538 w 5018088"/>
              <a:gd name="connsiteY55" fmla="*/ 1258078 h 3409951"/>
              <a:gd name="connsiteX56" fmla="*/ 2634610 w 5018088"/>
              <a:gd name="connsiteY56" fmla="*/ 1270000 h 3409951"/>
              <a:gd name="connsiteX57" fmla="*/ 2336043 w 5018088"/>
              <a:gd name="connsiteY57" fmla="*/ 1270000 h 3409951"/>
              <a:gd name="connsiteX58" fmla="*/ 2324100 w 5018088"/>
              <a:gd name="connsiteY58" fmla="*/ 1258078 h 3409951"/>
              <a:gd name="connsiteX59" fmla="*/ 2324100 w 5018088"/>
              <a:gd name="connsiteY59" fmla="*/ 1138853 h 3409951"/>
              <a:gd name="connsiteX60" fmla="*/ 2336043 w 5018088"/>
              <a:gd name="connsiteY60" fmla="*/ 1123950 h 3409951"/>
              <a:gd name="connsiteX61" fmla="*/ 2767799 w 5018088"/>
              <a:gd name="connsiteY61" fmla="*/ 817563 h 3409951"/>
              <a:gd name="connsiteX62" fmla="*/ 3074201 w 5018088"/>
              <a:gd name="connsiteY62" fmla="*/ 817563 h 3409951"/>
              <a:gd name="connsiteX63" fmla="*/ 3086100 w 5018088"/>
              <a:gd name="connsiteY63" fmla="*/ 829452 h 3409951"/>
              <a:gd name="connsiteX64" fmla="*/ 3086100 w 5018088"/>
              <a:gd name="connsiteY64" fmla="*/ 945374 h 3409951"/>
              <a:gd name="connsiteX65" fmla="*/ 3074201 w 5018088"/>
              <a:gd name="connsiteY65" fmla="*/ 957263 h 3409951"/>
              <a:gd name="connsiteX66" fmla="*/ 2767799 w 5018088"/>
              <a:gd name="connsiteY66" fmla="*/ 957263 h 3409951"/>
              <a:gd name="connsiteX67" fmla="*/ 2755900 w 5018088"/>
              <a:gd name="connsiteY67" fmla="*/ 945374 h 3409951"/>
              <a:gd name="connsiteX68" fmla="*/ 2755900 w 5018088"/>
              <a:gd name="connsiteY68" fmla="*/ 829452 h 3409951"/>
              <a:gd name="connsiteX69" fmla="*/ 2767799 w 5018088"/>
              <a:gd name="connsiteY69" fmla="*/ 817563 h 3409951"/>
              <a:gd name="connsiteX70" fmla="*/ 2336043 w 5018088"/>
              <a:gd name="connsiteY70" fmla="*/ 817563 h 3409951"/>
              <a:gd name="connsiteX71" fmla="*/ 2634610 w 5018088"/>
              <a:gd name="connsiteY71" fmla="*/ 817563 h 3409951"/>
              <a:gd name="connsiteX72" fmla="*/ 2649538 w 5018088"/>
              <a:gd name="connsiteY72" fmla="*/ 829452 h 3409951"/>
              <a:gd name="connsiteX73" fmla="*/ 2649538 w 5018088"/>
              <a:gd name="connsiteY73" fmla="*/ 945374 h 3409951"/>
              <a:gd name="connsiteX74" fmla="*/ 2634610 w 5018088"/>
              <a:gd name="connsiteY74" fmla="*/ 957263 h 3409951"/>
              <a:gd name="connsiteX75" fmla="*/ 2336043 w 5018088"/>
              <a:gd name="connsiteY75" fmla="*/ 957263 h 3409951"/>
              <a:gd name="connsiteX76" fmla="*/ 2324100 w 5018088"/>
              <a:gd name="connsiteY76" fmla="*/ 945374 h 3409951"/>
              <a:gd name="connsiteX77" fmla="*/ 2324100 w 5018088"/>
              <a:gd name="connsiteY77" fmla="*/ 829452 h 3409951"/>
              <a:gd name="connsiteX78" fmla="*/ 2336043 w 5018088"/>
              <a:gd name="connsiteY78" fmla="*/ 817563 h 3409951"/>
              <a:gd name="connsiteX79" fmla="*/ 1803802 w 5018088"/>
              <a:gd name="connsiteY79" fmla="*/ 654050 h 3409951"/>
              <a:gd name="connsiteX80" fmla="*/ 1762125 w 5018088"/>
              <a:gd name="connsiteY80" fmla="*/ 692752 h 3409951"/>
              <a:gd name="connsiteX81" fmla="*/ 1762125 w 5018088"/>
              <a:gd name="connsiteY81" fmla="*/ 695730 h 3409951"/>
              <a:gd name="connsiteX82" fmla="*/ 1782963 w 5018088"/>
              <a:gd name="connsiteY82" fmla="*/ 802905 h 3409951"/>
              <a:gd name="connsiteX83" fmla="*/ 1794871 w 5018088"/>
              <a:gd name="connsiteY83" fmla="*/ 814814 h 3409951"/>
              <a:gd name="connsiteX84" fmla="*/ 2196750 w 5018088"/>
              <a:gd name="connsiteY84" fmla="*/ 814814 h 3409951"/>
              <a:gd name="connsiteX85" fmla="*/ 2211634 w 5018088"/>
              <a:gd name="connsiteY85" fmla="*/ 826722 h 3409951"/>
              <a:gd name="connsiteX86" fmla="*/ 2211634 w 5018088"/>
              <a:gd name="connsiteY86" fmla="*/ 942829 h 3409951"/>
              <a:gd name="connsiteX87" fmla="*/ 2196750 w 5018088"/>
              <a:gd name="connsiteY87" fmla="*/ 957714 h 3409951"/>
              <a:gd name="connsiteX88" fmla="*/ 1824640 w 5018088"/>
              <a:gd name="connsiteY88" fmla="*/ 957714 h 3409951"/>
              <a:gd name="connsiteX89" fmla="*/ 1812732 w 5018088"/>
              <a:gd name="connsiteY89" fmla="*/ 972600 h 3409951"/>
              <a:gd name="connsiteX90" fmla="*/ 1839524 w 5018088"/>
              <a:gd name="connsiteY90" fmla="*/ 1112524 h 3409951"/>
              <a:gd name="connsiteX91" fmla="*/ 1851432 w 5018088"/>
              <a:gd name="connsiteY91" fmla="*/ 1124432 h 3409951"/>
              <a:gd name="connsiteX92" fmla="*/ 2196750 w 5018088"/>
              <a:gd name="connsiteY92" fmla="*/ 1124432 h 3409951"/>
              <a:gd name="connsiteX93" fmla="*/ 2211634 w 5018088"/>
              <a:gd name="connsiteY93" fmla="*/ 1139317 h 3409951"/>
              <a:gd name="connsiteX94" fmla="*/ 2211634 w 5018088"/>
              <a:gd name="connsiteY94" fmla="*/ 1258402 h 3409951"/>
              <a:gd name="connsiteX95" fmla="*/ 2196750 w 5018088"/>
              <a:gd name="connsiteY95" fmla="*/ 1270310 h 3409951"/>
              <a:gd name="connsiteX96" fmla="*/ 1881200 w 5018088"/>
              <a:gd name="connsiteY96" fmla="*/ 1270310 h 3409951"/>
              <a:gd name="connsiteX97" fmla="*/ 1869293 w 5018088"/>
              <a:gd name="connsiteY97" fmla="*/ 1285195 h 3409951"/>
              <a:gd name="connsiteX98" fmla="*/ 1893108 w 5018088"/>
              <a:gd name="connsiteY98" fmla="*/ 1428096 h 3409951"/>
              <a:gd name="connsiteX99" fmla="*/ 1907992 w 5018088"/>
              <a:gd name="connsiteY99" fmla="*/ 1437028 h 3409951"/>
              <a:gd name="connsiteX100" fmla="*/ 2196750 w 5018088"/>
              <a:gd name="connsiteY100" fmla="*/ 1437028 h 3409951"/>
              <a:gd name="connsiteX101" fmla="*/ 2211634 w 5018088"/>
              <a:gd name="connsiteY101" fmla="*/ 1451913 h 3409951"/>
              <a:gd name="connsiteX102" fmla="*/ 2211634 w 5018088"/>
              <a:gd name="connsiteY102" fmla="*/ 1568020 h 3409951"/>
              <a:gd name="connsiteX103" fmla="*/ 2196750 w 5018088"/>
              <a:gd name="connsiteY103" fmla="*/ 1582905 h 3409951"/>
              <a:gd name="connsiteX104" fmla="*/ 1934784 w 5018088"/>
              <a:gd name="connsiteY104" fmla="*/ 1582905 h 3409951"/>
              <a:gd name="connsiteX105" fmla="*/ 1922877 w 5018088"/>
              <a:gd name="connsiteY105" fmla="*/ 1597791 h 3409951"/>
              <a:gd name="connsiteX106" fmla="*/ 1943715 w 5018088"/>
              <a:gd name="connsiteY106" fmla="*/ 1710921 h 3409951"/>
              <a:gd name="connsiteX107" fmla="*/ 1943715 w 5018088"/>
              <a:gd name="connsiteY107" fmla="*/ 1713898 h 3409951"/>
              <a:gd name="connsiteX108" fmla="*/ 1982414 w 5018088"/>
              <a:gd name="connsiteY108" fmla="*/ 1752600 h 3409951"/>
              <a:gd name="connsiteX109" fmla="*/ 3429178 w 5018088"/>
              <a:gd name="connsiteY109" fmla="*/ 1752600 h 3409951"/>
              <a:gd name="connsiteX110" fmla="*/ 3467877 w 5018088"/>
              <a:gd name="connsiteY110" fmla="*/ 1710921 h 3409951"/>
              <a:gd name="connsiteX111" fmla="*/ 3485739 w 5018088"/>
              <a:gd name="connsiteY111" fmla="*/ 1597791 h 3409951"/>
              <a:gd name="connsiteX112" fmla="*/ 3473831 w 5018088"/>
              <a:gd name="connsiteY112" fmla="*/ 1582905 h 3409951"/>
              <a:gd name="connsiteX113" fmla="*/ 3208889 w 5018088"/>
              <a:gd name="connsiteY113" fmla="*/ 1582905 h 3409951"/>
              <a:gd name="connsiteX114" fmla="*/ 3196981 w 5018088"/>
              <a:gd name="connsiteY114" fmla="*/ 1568020 h 3409951"/>
              <a:gd name="connsiteX115" fmla="*/ 3196981 w 5018088"/>
              <a:gd name="connsiteY115" fmla="*/ 1451913 h 3409951"/>
              <a:gd name="connsiteX116" fmla="*/ 3208889 w 5018088"/>
              <a:gd name="connsiteY116" fmla="*/ 1437028 h 3409951"/>
              <a:gd name="connsiteX117" fmla="*/ 3500623 w 5018088"/>
              <a:gd name="connsiteY117" fmla="*/ 1437028 h 3409951"/>
              <a:gd name="connsiteX118" fmla="*/ 3512531 w 5018088"/>
              <a:gd name="connsiteY118" fmla="*/ 1428096 h 3409951"/>
              <a:gd name="connsiteX119" fmla="*/ 3536346 w 5018088"/>
              <a:gd name="connsiteY119" fmla="*/ 1285195 h 3409951"/>
              <a:gd name="connsiteX120" fmla="*/ 3521461 w 5018088"/>
              <a:gd name="connsiteY120" fmla="*/ 1270310 h 3409951"/>
              <a:gd name="connsiteX121" fmla="*/ 3208889 w 5018088"/>
              <a:gd name="connsiteY121" fmla="*/ 1270310 h 3409951"/>
              <a:gd name="connsiteX122" fmla="*/ 3196981 w 5018088"/>
              <a:gd name="connsiteY122" fmla="*/ 1258402 h 3409951"/>
              <a:gd name="connsiteX123" fmla="*/ 3196981 w 5018088"/>
              <a:gd name="connsiteY123" fmla="*/ 1139317 h 3409951"/>
              <a:gd name="connsiteX124" fmla="*/ 3208889 w 5018088"/>
              <a:gd name="connsiteY124" fmla="*/ 1124432 h 3409951"/>
              <a:gd name="connsiteX125" fmla="*/ 3548253 w 5018088"/>
              <a:gd name="connsiteY125" fmla="*/ 1124432 h 3409951"/>
              <a:gd name="connsiteX126" fmla="*/ 3560161 w 5018088"/>
              <a:gd name="connsiteY126" fmla="*/ 1112524 h 3409951"/>
              <a:gd name="connsiteX127" fmla="*/ 3580999 w 5018088"/>
              <a:gd name="connsiteY127" fmla="*/ 972600 h 3409951"/>
              <a:gd name="connsiteX128" fmla="*/ 3569091 w 5018088"/>
              <a:gd name="connsiteY128" fmla="*/ 957714 h 3409951"/>
              <a:gd name="connsiteX129" fmla="*/ 3208889 w 5018088"/>
              <a:gd name="connsiteY129" fmla="*/ 957714 h 3409951"/>
              <a:gd name="connsiteX130" fmla="*/ 3196981 w 5018088"/>
              <a:gd name="connsiteY130" fmla="*/ 942829 h 3409951"/>
              <a:gd name="connsiteX131" fmla="*/ 3196981 w 5018088"/>
              <a:gd name="connsiteY131" fmla="*/ 826722 h 3409951"/>
              <a:gd name="connsiteX132" fmla="*/ 3208889 w 5018088"/>
              <a:gd name="connsiteY132" fmla="*/ 814814 h 3409951"/>
              <a:gd name="connsiteX133" fmla="*/ 3592906 w 5018088"/>
              <a:gd name="connsiteY133" fmla="*/ 814814 h 3409951"/>
              <a:gd name="connsiteX134" fmla="*/ 3604814 w 5018088"/>
              <a:gd name="connsiteY134" fmla="*/ 802905 h 3409951"/>
              <a:gd name="connsiteX135" fmla="*/ 3622675 w 5018088"/>
              <a:gd name="connsiteY135" fmla="*/ 695730 h 3409951"/>
              <a:gd name="connsiteX136" fmla="*/ 3622675 w 5018088"/>
              <a:gd name="connsiteY136" fmla="*/ 692752 h 3409951"/>
              <a:gd name="connsiteX137" fmla="*/ 3583976 w 5018088"/>
              <a:gd name="connsiteY137" fmla="*/ 654050 h 3409951"/>
              <a:gd name="connsiteX138" fmla="*/ 1803802 w 5018088"/>
              <a:gd name="connsiteY138" fmla="*/ 654050 h 3409951"/>
              <a:gd name="connsiteX139" fmla="*/ 1273603 w 5018088"/>
              <a:gd name="connsiteY139" fmla="*/ 419100 h 3409951"/>
              <a:gd name="connsiteX140" fmla="*/ 1208088 w 5018088"/>
              <a:gd name="connsiteY140" fmla="*/ 484601 h 3409951"/>
              <a:gd name="connsiteX141" fmla="*/ 1273603 w 5018088"/>
              <a:gd name="connsiteY141" fmla="*/ 547125 h 3409951"/>
              <a:gd name="connsiteX142" fmla="*/ 1532686 w 5018088"/>
              <a:gd name="connsiteY142" fmla="*/ 547125 h 3409951"/>
              <a:gd name="connsiteX143" fmla="*/ 1770923 w 5018088"/>
              <a:gd name="connsiteY143" fmla="*/ 1919671 h 3409951"/>
              <a:gd name="connsiteX144" fmla="*/ 1833460 w 5018088"/>
              <a:gd name="connsiteY144" fmla="*/ 1973263 h 3409951"/>
              <a:gd name="connsiteX145" fmla="*/ 3253948 w 5018088"/>
              <a:gd name="connsiteY145" fmla="*/ 1973263 h 3409951"/>
              <a:gd name="connsiteX146" fmla="*/ 3319463 w 5018088"/>
              <a:gd name="connsiteY146" fmla="*/ 1907762 h 3409951"/>
              <a:gd name="connsiteX147" fmla="*/ 3253948 w 5018088"/>
              <a:gd name="connsiteY147" fmla="*/ 1845238 h 3409951"/>
              <a:gd name="connsiteX148" fmla="*/ 1887064 w 5018088"/>
              <a:gd name="connsiteY148" fmla="*/ 1845238 h 3409951"/>
              <a:gd name="connsiteX149" fmla="*/ 1651805 w 5018088"/>
              <a:gd name="connsiteY149" fmla="*/ 472692 h 3409951"/>
              <a:gd name="connsiteX150" fmla="*/ 1586289 w 5018088"/>
              <a:gd name="connsiteY150" fmla="*/ 419100 h 3409951"/>
              <a:gd name="connsiteX151" fmla="*/ 1273603 w 5018088"/>
              <a:gd name="connsiteY151" fmla="*/ 419100 h 3409951"/>
              <a:gd name="connsiteX152" fmla="*/ 29763 w 5018088"/>
              <a:gd name="connsiteY152" fmla="*/ 0 h 3409951"/>
              <a:gd name="connsiteX153" fmla="*/ 4988325 w 5018088"/>
              <a:gd name="connsiteY153" fmla="*/ 0 h 3409951"/>
              <a:gd name="connsiteX154" fmla="*/ 5018088 w 5018088"/>
              <a:gd name="connsiteY154" fmla="*/ 29751 h 3409951"/>
              <a:gd name="connsiteX155" fmla="*/ 5018088 w 5018088"/>
              <a:gd name="connsiteY155" fmla="*/ 2757899 h 3409951"/>
              <a:gd name="connsiteX156" fmla="*/ 4988325 w 5018088"/>
              <a:gd name="connsiteY156" fmla="*/ 2787650 h 3409951"/>
              <a:gd name="connsiteX157" fmla="*/ 29763 w 5018088"/>
              <a:gd name="connsiteY157" fmla="*/ 2787650 h 3409951"/>
              <a:gd name="connsiteX158" fmla="*/ 0 w 5018088"/>
              <a:gd name="connsiteY158" fmla="*/ 2757899 h 3409951"/>
              <a:gd name="connsiteX159" fmla="*/ 0 w 5018088"/>
              <a:gd name="connsiteY159" fmla="*/ 29751 h 3409951"/>
              <a:gd name="connsiteX160" fmla="*/ 29763 w 5018088"/>
              <a:gd name="connsiteY160" fmla="*/ 0 h 3409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018088" h="3409951">
                <a:moveTo>
                  <a:pt x="2520950" y="3148013"/>
                </a:moveTo>
                <a:cubicBezTo>
                  <a:pt x="2594597" y="3148013"/>
                  <a:pt x="2654300" y="3206650"/>
                  <a:pt x="2654300" y="3278982"/>
                </a:cubicBezTo>
                <a:cubicBezTo>
                  <a:pt x="2654300" y="3351314"/>
                  <a:pt x="2594597" y="3409951"/>
                  <a:pt x="2520950" y="3409951"/>
                </a:cubicBezTo>
                <a:cubicBezTo>
                  <a:pt x="2447303" y="3409951"/>
                  <a:pt x="2387600" y="3351314"/>
                  <a:pt x="2387600" y="3278982"/>
                </a:cubicBezTo>
                <a:cubicBezTo>
                  <a:pt x="2387600" y="3206650"/>
                  <a:pt x="2447303" y="3148013"/>
                  <a:pt x="2520950" y="3148013"/>
                </a:cubicBezTo>
                <a:close/>
                <a:moveTo>
                  <a:pt x="3087688" y="2178050"/>
                </a:moveTo>
                <a:cubicBezTo>
                  <a:pt x="3156075" y="2178050"/>
                  <a:pt x="3211513" y="2233488"/>
                  <a:pt x="3211513" y="2301875"/>
                </a:cubicBezTo>
                <a:cubicBezTo>
                  <a:pt x="3211513" y="2370262"/>
                  <a:pt x="3156075" y="2425700"/>
                  <a:pt x="3087688" y="2425700"/>
                </a:cubicBezTo>
                <a:cubicBezTo>
                  <a:pt x="3019301" y="2425700"/>
                  <a:pt x="2963863" y="2370262"/>
                  <a:pt x="2963863" y="2301875"/>
                </a:cubicBezTo>
                <a:cubicBezTo>
                  <a:pt x="2963863" y="2233488"/>
                  <a:pt x="3019301" y="2178050"/>
                  <a:pt x="3087688" y="2178050"/>
                </a:cubicBezTo>
                <a:close/>
                <a:moveTo>
                  <a:pt x="1992313" y="2178050"/>
                </a:moveTo>
                <a:cubicBezTo>
                  <a:pt x="2060700" y="2178050"/>
                  <a:pt x="2116138" y="2233488"/>
                  <a:pt x="2116138" y="2301875"/>
                </a:cubicBezTo>
                <a:cubicBezTo>
                  <a:pt x="2116138" y="2370262"/>
                  <a:pt x="2060700" y="2425700"/>
                  <a:pt x="1992313" y="2425700"/>
                </a:cubicBezTo>
                <a:cubicBezTo>
                  <a:pt x="1923926" y="2425700"/>
                  <a:pt x="1868488" y="2370262"/>
                  <a:pt x="1868488" y="2301875"/>
                </a:cubicBezTo>
                <a:cubicBezTo>
                  <a:pt x="1868488" y="2233488"/>
                  <a:pt x="1923926" y="2178050"/>
                  <a:pt x="1992313" y="2178050"/>
                </a:cubicBezTo>
                <a:close/>
                <a:moveTo>
                  <a:pt x="3088482" y="2119313"/>
                </a:moveTo>
                <a:cubicBezTo>
                  <a:pt x="2988970" y="2119313"/>
                  <a:pt x="2908300" y="2200338"/>
                  <a:pt x="2908300" y="2300288"/>
                </a:cubicBezTo>
                <a:cubicBezTo>
                  <a:pt x="2908300" y="2400238"/>
                  <a:pt x="2988970" y="2481263"/>
                  <a:pt x="3088482" y="2481263"/>
                </a:cubicBezTo>
                <a:cubicBezTo>
                  <a:pt x="3187994" y="2481263"/>
                  <a:pt x="3268664" y="2400238"/>
                  <a:pt x="3268664" y="2300288"/>
                </a:cubicBezTo>
                <a:cubicBezTo>
                  <a:pt x="3268664" y="2200338"/>
                  <a:pt x="3187994" y="2119313"/>
                  <a:pt x="3088482" y="2119313"/>
                </a:cubicBezTo>
                <a:close/>
                <a:moveTo>
                  <a:pt x="1993107" y="2119313"/>
                </a:moveTo>
                <a:cubicBezTo>
                  <a:pt x="1893595" y="2119313"/>
                  <a:pt x="1812925" y="2200338"/>
                  <a:pt x="1812925" y="2300288"/>
                </a:cubicBezTo>
                <a:cubicBezTo>
                  <a:pt x="1812925" y="2400238"/>
                  <a:pt x="1893595" y="2481263"/>
                  <a:pt x="1993107" y="2481263"/>
                </a:cubicBezTo>
                <a:cubicBezTo>
                  <a:pt x="2092619" y="2481263"/>
                  <a:pt x="2173289" y="2400238"/>
                  <a:pt x="2173289" y="2300288"/>
                </a:cubicBezTo>
                <a:cubicBezTo>
                  <a:pt x="2173289" y="2200338"/>
                  <a:pt x="2092619" y="2119313"/>
                  <a:pt x="1993107" y="2119313"/>
                </a:cubicBezTo>
                <a:close/>
                <a:moveTo>
                  <a:pt x="2767799" y="1433513"/>
                </a:moveTo>
                <a:cubicBezTo>
                  <a:pt x="3074201" y="1433513"/>
                  <a:pt x="3074201" y="1433513"/>
                  <a:pt x="3074201" y="1433513"/>
                </a:cubicBezTo>
                <a:cubicBezTo>
                  <a:pt x="3080151" y="1433513"/>
                  <a:pt x="3086100" y="1439474"/>
                  <a:pt x="3086100" y="1448416"/>
                </a:cubicBezTo>
                <a:cubicBezTo>
                  <a:pt x="3086100" y="1564660"/>
                  <a:pt x="3086100" y="1564660"/>
                  <a:pt x="3086100" y="1564660"/>
                </a:cubicBezTo>
                <a:cubicBezTo>
                  <a:pt x="3086100" y="1573602"/>
                  <a:pt x="3080151" y="1579563"/>
                  <a:pt x="3074201" y="1579563"/>
                </a:cubicBezTo>
                <a:cubicBezTo>
                  <a:pt x="2767799" y="1579563"/>
                  <a:pt x="2767799" y="1579563"/>
                  <a:pt x="2767799" y="1579563"/>
                </a:cubicBezTo>
                <a:cubicBezTo>
                  <a:pt x="2761850" y="1579563"/>
                  <a:pt x="2755900" y="1573602"/>
                  <a:pt x="2755900" y="1564660"/>
                </a:cubicBezTo>
                <a:cubicBezTo>
                  <a:pt x="2755900" y="1448416"/>
                  <a:pt x="2755900" y="1448416"/>
                  <a:pt x="2755900" y="1448416"/>
                </a:cubicBezTo>
                <a:cubicBezTo>
                  <a:pt x="2755900" y="1439474"/>
                  <a:pt x="2761850" y="1433513"/>
                  <a:pt x="2767799" y="1433513"/>
                </a:cubicBezTo>
                <a:close/>
                <a:moveTo>
                  <a:pt x="2336043" y="1433513"/>
                </a:moveTo>
                <a:cubicBezTo>
                  <a:pt x="2634610" y="1433513"/>
                  <a:pt x="2634610" y="1433513"/>
                  <a:pt x="2634610" y="1433513"/>
                </a:cubicBezTo>
                <a:cubicBezTo>
                  <a:pt x="2643567" y="1433513"/>
                  <a:pt x="2649538" y="1439474"/>
                  <a:pt x="2649538" y="1448416"/>
                </a:cubicBezTo>
                <a:cubicBezTo>
                  <a:pt x="2649538" y="1564660"/>
                  <a:pt x="2649538" y="1564660"/>
                  <a:pt x="2649538" y="1564660"/>
                </a:cubicBezTo>
                <a:cubicBezTo>
                  <a:pt x="2649538" y="1573602"/>
                  <a:pt x="2643567" y="1579563"/>
                  <a:pt x="2634610" y="1579563"/>
                </a:cubicBezTo>
                <a:cubicBezTo>
                  <a:pt x="2336043" y="1579563"/>
                  <a:pt x="2336043" y="1579563"/>
                  <a:pt x="2336043" y="1579563"/>
                </a:cubicBezTo>
                <a:cubicBezTo>
                  <a:pt x="2330072" y="1579563"/>
                  <a:pt x="2324100" y="1573602"/>
                  <a:pt x="2324100" y="1564660"/>
                </a:cubicBezTo>
                <a:cubicBezTo>
                  <a:pt x="2324100" y="1448416"/>
                  <a:pt x="2324100" y="1448416"/>
                  <a:pt x="2324100" y="1448416"/>
                </a:cubicBezTo>
                <a:cubicBezTo>
                  <a:pt x="2324100" y="1439474"/>
                  <a:pt x="2330072" y="1433513"/>
                  <a:pt x="2336043" y="1433513"/>
                </a:cubicBezTo>
                <a:close/>
                <a:moveTo>
                  <a:pt x="2767799" y="1123950"/>
                </a:moveTo>
                <a:cubicBezTo>
                  <a:pt x="3074201" y="1123950"/>
                  <a:pt x="3074201" y="1123950"/>
                  <a:pt x="3074201" y="1123950"/>
                </a:cubicBezTo>
                <a:cubicBezTo>
                  <a:pt x="3080151" y="1123950"/>
                  <a:pt x="3086100" y="1129911"/>
                  <a:pt x="3086100" y="1138853"/>
                </a:cubicBezTo>
                <a:cubicBezTo>
                  <a:pt x="3086100" y="1258078"/>
                  <a:pt x="3086100" y="1258078"/>
                  <a:pt x="3086100" y="1258078"/>
                </a:cubicBezTo>
                <a:cubicBezTo>
                  <a:pt x="3086100" y="1264039"/>
                  <a:pt x="3080151" y="1270000"/>
                  <a:pt x="3074201" y="1270000"/>
                </a:cubicBezTo>
                <a:cubicBezTo>
                  <a:pt x="2767799" y="1270000"/>
                  <a:pt x="2767799" y="1270000"/>
                  <a:pt x="2767799" y="1270000"/>
                </a:cubicBezTo>
                <a:cubicBezTo>
                  <a:pt x="2761850" y="1270000"/>
                  <a:pt x="2755900" y="1264039"/>
                  <a:pt x="2755900" y="1258078"/>
                </a:cubicBezTo>
                <a:cubicBezTo>
                  <a:pt x="2755900" y="1138853"/>
                  <a:pt x="2755900" y="1138853"/>
                  <a:pt x="2755900" y="1138853"/>
                </a:cubicBezTo>
                <a:cubicBezTo>
                  <a:pt x="2755900" y="1129911"/>
                  <a:pt x="2761850" y="1123950"/>
                  <a:pt x="2767799" y="1123950"/>
                </a:cubicBezTo>
                <a:close/>
                <a:moveTo>
                  <a:pt x="2336043" y="1123950"/>
                </a:moveTo>
                <a:cubicBezTo>
                  <a:pt x="2634610" y="1123950"/>
                  <a:pt x="2634610" y="1123950"/>
                  <a:pt x="2634610" y="1123950"/>
                </a:cubicBezTo>
                <a:cubicBezTo>
                  <a:pt x="2643567" y="1123950"/>
                  <a:pt x="2649538" y="1129911"/>
                  <a:pt x="2649538" y="1138853"/>
                </a:cubicBezTo>
                <a:cubicBezTo>
                  <a:pt x="2649538" y="1258078"/>
                  <a:pt x="2649538" y="1258078"/>
                  <a:pt x="2649538" y="1258078"/>
                </a:cubicBezTo>
                <a:cubicBezTo>
                  <a:pt x="2649538" y="1264039"/>
                  <a:pt x="2643567" y="1270000"/>
                  <a:pt x="2634610" y="1270000"/>
                </a:cubicBezTo>
                <a:cubicBezTo>
                  <a:pt x="2336043" y="1270000"/>
                  <a:pt x="2336043" y="1270000"/>
                  <a:pt x="2336043" y="1270000"/>
                </a:cubicBezTo>
                <a:cubicBezTo>
                  <a:pt x="2330072" y="1270000"/>
                  <a:pt x="2324100" y="1264039"/>
                  <a:pt x="2324100" y="1258078"/>
                </a:cubicBezTo>
                <a:cubicBezTo>
                  <a:pt x="2324100" y="1138853"/>
                  <a:pt x="2324100" y="1138853"/>
                  <a:pt x="2324100" y="1138853"/>
                </a:cubicBezTo>
                <a:cubicBezTo>
                  <a:pt x="2324100" y="1129911"/>
                  <a:pt x="2330072" y="1123950"/>
                  <a:pt x="2336043" y="1123950"/>
                </a:cubicBezTo>
                <a:close/>
                <a:moveTo>
                  <a:pt x="2767799" y="817563"/>
                </a:moveTo>
                <a:cubicBezTo>
                  <a:pt x="3074201" y="817563"/>
                  <a:pt x="3074201" y="817563"/>
                  <a:pt x="3074201" y="817563"/>
                </a:cubicBezTo>
                <a:cubicBezTo>
                  <a:pt x="3080151" y="817563"/>
                  <a:pt x="3086100" y="820535"/>
                  <a:pt x="3086100" y="829452"/>
                </a:cubicBezTo>
                <a:cubicBezTo>
                  <a:pt x="3086100" y="945374"/>
                  <a:pt x="3086100" y="945374"/>
                  <a:pt x="3086100" y="945374"/>
                </a:cubicBezTo>
                <a:cubicBezTo>
                  <a:pt x="3086100" y="951318"/>
                  <a:pt x="3080151" y="957263"/>
                  <a:pt x="3074201" y="957263"/>
                </a:cubicBezTo>
                <a:cubicBezTo>
                  <a:pt x="2767799" y="957263"/>
                  <a:pt x="2767799" y="957263"/>
                  <a:pt x="2767799" y="957263"/>
                </a:cubicBezTo>
                <a:cubicBezTo>
                  <a:pt x="2761850" y="957263"/>
                  <a:pt x="2755900" y="951318"/>
                  <a:pt x="2755900" y="945374"/>
                </a:cubicBezTo>
                <a:cubicBezTo>
                  <a:pt x="2755900" y="829452"/>
                  <a:pt x="2755900" y="829452"/>
                  <a:pt x="2755900" y="829452"/>
                </a:cubicBezTo>
                <a:cubicBezTo>
                  <a:pt x="2755900" y="820535"/>
                  <a:pt x="2761850" y="817563"/>
                  <a:pt x="2767799" y="817563"/>
                </a:cubicBezTo>
                <a:close/>
                <a:moveTo>
                  <a:pt x="2336043" y="817563"/>
                </a:moveTo>
                <a:cubicBezTo>
                  <a:pt x="2634610" y="817563"/>
                  <a:pt x="2634610" y="817563"/>
                  <a:pt x="2634610" y="817563"/>
                </a:cubicBezTo>
                <a:cubicBezTo>
                  <a:pt x="2643567" y="817563"/>
                  <a:pt x="2649538" y="820535"/>
                  <a:pt x="2649538" y="829452"/>
                </a:cubicBezTo>
                <a:cubicBezTo>
                  <a:pt x="2649538" y="945374"/>
                  <a:pt x="2649538" y="945374"/>
                  <a:pt x="2649538" y="945374"/>
                </a:cubicBezTo>
                <a:cubicBezTo>
                  <a:pt x="2649538" y="951318"/>
                  <a:pt x="2643567" y="957263"/>
                  <a:pt x="2634610" y="957263"/>
                </a:cubicBezTo>
                <a:cubicBezTo>
                  <a:pt x="2336043" y="957263"/>
                  <a:pt x="2336043" y="957263"/>
                  <a:pt x="2336043" y="957263"/>
                </a:cubicBezTo>
                <a:cubicBezTo>
                  <a:pt x="2330072" y="957263"/>
                  <a:pt x="2324100" y="951318"/>
                  <a:pt x="2324100" y="945374"/>
                </a:cubicBezTo>
                <a:cubicBezTo>
                  <a:pt x="2324100" y="829452"/>
                  <a:pt x="2324100" y="829452"/>
                  <a:pt x="2324100" y="829452"/>
                </a:cubicBezTo>
                <a:cubicBezTo>
                  <a:pt x="2324100" y="820535"/>
                  <a:pt x="2330072" y="817563"/>
                  <a:pt x="2336043" y="817563"/>
                </a:cubicBezTo>
                <a:close/>
                <a:moveTo>
                  <a:pt x="1803802" y="654050"/>
                </a:moveTo>
                <a:cubicBezTo>
                  <a:pt x="1782963" y="654050"/>
                  <a:pt x="1765102" y="671913"/>
                  <a:pt x="1762125" y="692752"/>
                </a:cubicBezTo>
                <a:cubicBezTo>
                  <a:pt x="1762125" y="692752"/>
                  <a:pt x="1762125" y="692752"/>
                  <a:pt x="1762125" y="695730"/>
                </a:cubicBezTo>
                <a:cubicBezTo>
                  <a:pt x="1782963" y="802905"/>
                  <a:pt x="1782963" y="802905"/>
                  <a:pt x="1782963" y="802905"/>
                </a:cubicBezTo>
                <a:cubicBezTo>
                  <a:pt x="1782963" y="808859"/>
                  <a:pt x="1788917" y="814814"/>
                  <a:pt x="1794871" y="814814"/>
                </a:cubicBezTo>
                <a:cubicBezTo>
                  <a:pt x="2196750" y="814814"/>
                  <a:pt x="2196750" y="814814"/>
                  <a:pt x="2196750" y="814814"/>
                </a:cubicBezTo>
                <a:cubicBezTo>
                  <a:pt x="2205680" y="814814"/>
                  <a:pt x="2211634" y="817791"/>
                  <a:pt x="2211634" y="826722"/>
                </a:cubicBezTo>
                <a:cubicBezTo>
                  <a:pt x="2211634" y="942829"/>
                  <a:pt x="2211634" y="942829"/>
                  <a:pt x="2211634" y="942829"/>
                </a:cubicBezTo>
                <a:cubicBezTo>
                  <a:pt x="2211634" y="951760"/>
                  <a:pt x="2205680" y="957714"/>
                  <a:pt x="2196750" y="957714"/>
                </a:cubicBezTo>
                <a:cubicBezTo>
                  <a:pt x="1824640" y="957714"/>
                  <a:pt x="1824640" y="957714"/>
                  <a:pt x="1824640" y="957714"/>
                </a:cubicBezTo>
                <a:cubicBezTo>
                  <a:pt x="1818686" y="957714"/>
                  <a:pt x="1812732" y="963669"/>
                  <a:pt x="1812732" y="972600"/>
                </a:cubicBezTo>
                <a:cubicBezTo>
                  <a:pt x="1839524" y="1112524"/>
                  <a:pt x="1839524" y="1112524"/>
                  <a:pt x="1839524" y="1112524"/>
                </a:cubicBezTo>
                <a:cubicBezTo>
                  <a:pt x="1839524" y="1118478"/>
                  <a:pt x="1845478" y="1124432"/>
                  <a:pt x="1851432" y="1124432"/>
                </a:cubicBezTo>
                <a:cubicBezTo>
                  <a:pt x="2196750" y="1124432"/>
                  <a:pt x="2196750" y="1124432"/>
                  <a:pt x="2196750" y="1124432"/>
                </a:cubicBezTo>
                <a:cubicBezTo>
                  <a:pt x="2205680" y="1124432"/>
                  <a:pt x="2211634" y="1130386"/>
                  <a:pt x="2211634" y="1139317"/>
                </a:cubicBezTo>
                <a:cubicBezTo>
                  <a:pt x="2211634" y="1258402"/>
                  <a:pt x="2211634" y="1258402"/>
                  <a:pt x="2211634" y="1258402"/>
                </a:cubicBezTo>
                <a:cubicBezTo>
                  <a:pt x="2211634" y="1264356"/>
                  <a:pt x="2205680" y="1270310"/>
                  <a:pt x="2196750" y="1270310"/>
                </a:cubicBezTo>
                <a:cubicBezTo>
                  <a:pt x="1881200" y="1270310"/>
                  <a:pt x="1881200" y="1270310"/>
                  <a:pt x="1881200" y="1270310"/>
                </a:cubicBezTo>
                <a:cubicBezTo>
                  <a:pt x="1875247" y="1270310"/>
                  <a:pt x="1866316" y="1279241"/>
                  <a:pt x="1869293" y="1285195"/>
                </a:cubicBezTo>
                <a:cubicBezTo>
                  <a:pt x="1893108" y="1428096"/>
                  <a:pt x="1893108" y="1428096"/>
                  <a:pt x="1893108" y="1428096"/>
                </a:cubicBezTo>
                <a:cubicBezTo>
                  <a:pt x="1896085" y="1434050"/>
                  <a:pt x="1899062" y="1437028"/>
                  <a:pt x="1907992" y="1437028"/>
                </a:cubicBezTo>
                <a:cubicBezTo>
                  <a:pt x="2196750" y="1437028"/>
                  <a:pt x="2196750" y="1437028"/>
                  <a:pt x="2196750" y="1437028"/>
                </a:cubicBezTo>
                <a:cubicBezTo>
                  <a:pt x="2205680" y="1437028"/>
                  <a:pt x="2211634" y="1442982"/>
                  <a:pt x="2211634" y="1451913"/>
                </a:cubicBezTo>
                <a:cubicBezTo>
                  <a:pt x="2211634" y="1568020"/>
                  <a:pt x="2211634" y="1568020"/>
                  <a:pt x="2211634" y="1568020"/>
                </a:cubicBezTo>
                <a:cubicBezTo>
                  <a:pt x="2211634" y="1576951"/>
                  <a:pt x="2205680" y="1582905"/>
                  <a:pt x="2196750" y="1582905"/>
                </a:cubicBezTo>
                <a:cubicBezTo>
                  <a:pt x="1934784" y="1582905"/>
                  <a:pt x="1934784" y="1582905"/>
                  <a:pt x="1934784" y="1582905"/>
                </a:cubicBezTo>
                <a:cubicBezTo>
                  <a:pt x="1925854" y="1582905"/>
                  <a:pt x="1919900" y="1588860"/>
                  <a:pt x="1922877" y="1597791"/>
                </a:cubicBezTo>
                <a:cubicBezTo>
                  <a:pt x="1943715" y="1710921"/>
                  <a:pt x="1943715" y="1710921"/>
                  <a:pt x="1943715" y="1710921"/>
                </a:cubicBezTo>
                <a:cubicBezTo>
                  <a:pt x="1943715" y="1710921"/>
                  <a:pt x="1943715" y="1710921"/>
                  <a:pt x="1943715" y="1713898"/>
                </a:cubicBezTo>
                <a:cubicBezTo>
                  <a:pt x="1943715" y="1734738"/>
                  <a:pt x="1961576" y="1752600"/>
                  <a:pt x="1982414" y="1752600"/>
                </a:cubicBezTo>
                <a:cubicBezTo>
                  <a:pt x="3429178" y="1752600"/>
                  <a:pt x="3429178" y="1752600"/>
                  <a:pt x="3429178" y="1752600"/>
                </a:cubicBezTo>
                <a:cubicBezTo>
                  <a:pt x="3450016" y="1752600"/>
                  <a:pt x="3467877" y="1734738"/>
                  <a:pt x="3467877" y="1710921"/>
                </a:cubicBezTo>
                <a:cubicBezTo>
                  <a:pt x="3485739" y="1597791"/>
                  <a:pt x="3485739" y="1597791"/>
                  <a:pt x="3485739" y="1597791"/>
                </a:cubicBezTo>
                <a:cubicBezTo>
                  <a:pt x="3488716" y="1588860"/>
                  <a:pt x="3479785" y="1582905"/>
                  <a:pt x="3473831" y="1582905"/>
                </a:cubicBezTo>
                <a:cubicBezTo>
                  <a:pt x="3208889" y="1582905"/>
                  <a:pt x="3208889" y="1582905"/>
                  <a:pt x="3208889" y="1582905"/>
                </a:cubicBezTo>
                <a:cubicBezTo>
                  <a:pt x="3199958" y="1582905"/>
                  <a:pt x="3196981" y="1576951"/>
                  <a:pt x="3196981" y="1568020"/>
                </a:cubicBezTo>
                <a:cubicBezTo>
                  <a:pt x="3196981" y="1451913"/>
                  <a:pt x="3196981" y="1451913"/>
                  <a:pt x="3196981" y="1451913"/>
                </a:cubicBezTo>
                <a:cubicBezTo>
                  <a:pt x="3196981" y="1442982"/>
                  <a:pt x="3199958" y="1437028"/>
                  <a:pt x="3208889" y="1437028"/>
                </a:cubicBezTo>
                <a:cubicBezTo>
                  <a:pt x="3500623" y="1437028"/>
                  <a:pt x="3500623" y="1437028"/>
                  <a:pt x="3500623" y="1437028"/>
                </a:cubicBezTo>
                <a:cubicBezTo>
                  <a:pt x="3506577" y="1437028"/>
                  <a:pt x="3512531" y="1434050"/>
                  <a:pt x="3512531" y="1428096"/>
                </a:cubicBezTo>
                <a:cubicBezTo>
                  <a:pt x="3536346" y="1285195"/>
                  <a:pt x="3536346" y="1285195"/>
                  <a:pt x="3536346" y="1285195"/>
                </a:cubicBezTo>
                <a:cubicBezTo>
                  <a:pt x="3536346" y="1279241"/>
                  <a:pt x="3530392" y="1270310"/>
                  <a:pt x="3521461" y="1270310"/>
                </a:cubicBezTo>
                <a:cubicBezTo>
                  <a:pt x="3208889" y="1270310"/>
                  <a:pt x="3208889" y="1270310"/>
                  <a:pt x="3208889" y="1270310"/>
                </a:cubicBezTo>
                <a:cubicBezTo>
                  <a:pt x="3199958" y="1270310"/>
                  <a:pt x="3196981" y="1264356"/>
                  <a:pt x="3196981" y="1258402"/>
                </a:cubicBezTo>
                <a:cubicBezTo>
                  <a:pt x="3196981" y="1139317"/>
                  <a:pt x="3196981" y="1139317"/>
                  <a:pt x="3196981" y="1139317"/>
                </a:cubicBezTo>
                <a:cubicBezTo>
                  <a:pt x="3196981" y="1130386"/>
                  <a:pt x="3199958" y="1124432"/>
                  <a:pt x="3208889" y="1124432"/>
                </a:cubicBezTo>
                <a:cubicBezTo>
                  <a:pt x="3548253" y="1124432"/>
                  <a:pt x="3548253" y="1124432"/>
                  <a:pt x="3548253" y="1124432"/>
                </a:cubicBezTo>
                <a:cubicBezTo>
                  <a:pt x="3554207" y="1124432"/>
                  <a:pt x="3560161" y="1118478"/>
                  <a:pt x="3560161" y="1112524"/>
                </a:cubicBezTo>
                <a:cubicBezTo>
                  <a:pt x="3580999" y="972600"/>
                  <a:pt x="3580999" y="972600"/>
                  <a:pt x="3580999" y="972600"/>
                </a:cubicBezTo>
                <a:cubicBezTo>
                  <a:pt x="3583976" y="963669"/>
                  <a:pt x="3575045" y="957714"/>
                  <a:pt x="3569091" y="957714"/>
                </a:cubicBezTo>
                <a:cubicBezTo>
                  <a:pt x="3208889" y="957714"/>
                  <a:pt x="3208889" y="957714"/>
                  <a:pt x="3208889" y="957714"/>
                </a:cubicBezTo>
                <a:cubicBezTo>
                  <a:pt x="3199958" y="957714"/>
                  <a:pt x="3196981" y="951760"/>
                  <a:pt x="3196981" y="942829"/>
                </a:cubicBezTo>
                <a:cubicBezTo>
                  <a:pt x="3196981" y="826722"/>
                  <a:pt x="3196981" y="826722"/>
                  <a:pt x="3196981" y="826722"/>
                </a:cubicBezTo>
                <a:cubicBezTo>
                  <a:pt x="3196981" y="817791"/>
                  <a:pt x="3199958" y="814814"/>
                  <a:pt x="3208889" y="814814"/>
                </a:cubicBezTo>
                <a:cubicBezTo>
                  <a:pt x="3592906" y="814814"/>
                  <a:pt x="3592906" y="814814"/>
                  <a:pt x="3592906" y="814814"/>
                </a:cubicBezTo>
                <a:cubicBezTo>
                  <a:pt x="3601837" y="814814"/>
                  <a:pt x="3604814" y="808859"/>
                  <a:pt x="3604814" y="802905"/>
                </a:cubicBezTo>
                <a:cubicBezTo>
                  <a:pt x="3622675" y="695730"/>
                  <a:pt x="3622675" y="695730"/>
                  <a:pt x="3622675" y="695730"/>
                </a:cubicBezTo>
                <a:cubicBezTo>
                  <a:pt x="3622675" y="695730"/>
                  <a:pt x="3622675" y="695730"/>
                  <a:pt x="3622675" y="692752"/>
                </a:cubicBezTo>
                <a:cubicBezTo>
                  <a:pt x="3622675" y="671913"/>
                  <a:pt x="3604814" y="654050"/>
                  <a:pt x="3583976" y="654050"/>
                </a:cubicBezTo>
                <a:cubicBezTo>
                  <a:pt x="1803802" y="654050"/>
                  <a:pt x="1803802" y="654050"/>
                  <a:pt x="1803802" y="654050"/>
                </a:cubicBezTo>
                <a:close/>
                <a:moveTo>
                  <a:pt x="1273603" y="419100"/>
                </a:moveTo>
                <a:cubicBezTo>
                  <a:pt x="1237868" y="419100"/>
                  <a:pt x="1208088" y="448873"/>
                  <a:pt x="1208088" y="484601"/>
                </a:cubicBezTo>
                <a:cubicBezTo>
                  <a:pt x="1208088" y="520329"/>
                  <a:pt x="1237868" y="547125"/>
                  <a:pt x="1273603" y="547125"/>
                </a:cubicBezTo>
                <a:cubicBezTo>
                  <a:pt x="1273603" y="547125"/>
                  <a:pt x="1273603" y="547125"/>
                  <a:pt x="1532686" y="547125"/>
                </a:cubicBezTo>
                <a:cubicBezTo>
                  <a:pt x="1532686" y="547125"/>
                  <a:pt x="1532686" y="547125"/>
                  <a:pt x="1770923" y="1919671"/>
                </a:cubicBezTo>
                <a:cubicBezTo>
                  <a:pt x="1776879" y="1952422"/>
                  <a:pt x="1803681" y="1973263"/>
                  <a:pt x="1833460" y="1973263"/>
                </a:cubicBezTo>
                <a:cubicBezTo>
                  <a:pt x="1833460" y="1973263"/>
                  <a:pt x="1833460" y="1973263"/>
                  <a:pt x="3253948" y="1973263"/>
                </a:cubicBezTo>
                <a:cubicBezTo>
                  <a:pt x="3289684" y="1973263"/>
                  <a:pt x="3319463" y="1943490"/>
                  <a:pt x="3319463" y="1907762"/>
                </a:cubicBezTo>
                <a:cubicBezTo>
                  <a:pt x="3319463" y="1875012"/>
                  <a:pt x="3289684" y="1845238"/>
                  <a:pt x="3253948" y="1845238"/>
                </a:cubicBezTo>
                <a:cubicBezTo>
                  <a:pt x="3253948" y="1845238"/>
                  <a:pt x="3253948" y="1845238"/>
                  <a:pt x="1887064" y="1845238"/>
                </a:cubicBezTo>
                <a:cubicBezTo>
                  <a:pt x="1887064" y="1845238"/>
                  <a:pt x="1887064" y="1845238"/>
                  <a:pt x="1651805" y="472692"/>
                </a:cubicBezTo>
                <a:cubicBezTo>
                  <a:pt x="1645849" y="442919"/>
                  <a:pt x="1619047" y="419100"/>
                  <a:pt x="1586289" y="419100"/>
                </a:cubicBezTo>
                <a:cubicBezTo>
                  <a:pt x="1586289" y="419100"/>
                  <a:pt x="1586289" y="419100"/>
                  <a:pt x="1273603" y="419100"/>
                </a:cubicBezTo>
                <a:close/>
                <a:moveTo>
                  <a:pt x="29763" y="0"/>
                </a:moveTo>
                <a:cubicBezTo>
                  <a:pt x="29763" y="0"/>
                  <a:pt x="29763" y="0"/>
                  <a:pt x="4988325" y="0"/>
                </a:cubicBezTo>
                <a:cubicBezTo>
                  <a:pt x="5003207" y="0"/>
                  <a:pt x="5018088" y="11900"/>
                  <a:pt x="5018088" y="29751"/>
                </a:cubicBezTo>
                <a:cubicBezTo>
                  <a:pt x="5018088" y="29751"/>
                  <a:pt x="5018088" y="29751"/>
                  <a:pt x="5018088" y="2757899"/>
                </a:cubicBezTo>
                <a:cubicBezTo>
                  <a:pt x="5018088" y="2775750"/>
                  <a:pt x="5003207" y="2787650"/>
                  <a:pt x="4988325" y="2787650"/>
                </a:cubicBezTo>
                <a:cubicBezTo>
                  <a:pt x="4988325" y="2787650"/>
                  <a:pt x="4988325" y="2787650"/>
                  <a:pt x="29763" y="2787650"/>
                </a:cubicBezTo>
                <a:cubicBezTo>
                  <a:pt x="14882" y="2787650"/>
                  <a:pt x="0" y="2775750"/>
                  <a:pt x="0" y="2757899"/>
                </a:cubicBezTo>
                <a:cubicBezTo>
                  <a:pt x="0" y="2757899"/>
                  <a:pt x="0" y="2757899"/>
                  <a:pt x="0" y="29751"/>
                </a:cubicBezTo>
                <a:cubicBezTo>
                  <a:pt x="0" y="11900"/>
                  <a:pt x="14882" y="0"/>
                  <a:pt x="29763" y="0"/>
                </a:cubicBezTo>
                <a:close/>
              </a:path>
            </a:pathLst>
          </a:custGeom>
          <a:solidFill>
            <a:srgbClr val="98A6CC"/>
          </a:solidFill>
          <a:ln>
            <a:noFill/>
          </a:ln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63" name="Rectangle 62"/>
          <p:cNvSpPr/>
          <p:nvPr/>
        </p:nvSpPr>
        <p:spPr>
          <a:xfrm>
            <a:off x="8663019" y="4390004"/>
            <a:ext cx="858370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</a:rPr>
              <a:t>E-commerce</a:t>
            </a:r>
          </a:p>
        </p:txBody>
      </p:sp>
      <p:sp>
        <p:nvSpPr>
          <p:cNvPr id="65" name="AutoShape 3"/>
          <p:cNvSpPr>
            <a:spLocks noChangeAspect="1" noChangeArrowheads="1" noTextEdit="1"/>
          </p:cNvSpPr>
          <p:nvPr/>
        </p:nvSpPr>
        <p:spPr bwMode="auto">
          <a:xfrm>
            <a:off x="1808920" y="2583353"/>
            <a:ext cx="922746" cy="92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67" name="Freeform 66"/>
          <p:cNvSpPr>
            <a:spLocks/>
          </p:cNvSpPr>
          <p:nvPr/>
        </p:nvSpPr>
        <p:spPr bwMode="auto">
          <a:xfrm>
            <a:off x="1894117" y="2737572"/>
            <a:ext cx="606939" cy="463356"/>
          </a:xfrm>
          <a:custGeom>
            <a:avLst/>
            <a:gdLst>
              <a:gd name="connsiteX0" fmla="*/ 2428875 w 4510872"/>
              <a:gd name="connsiteY0" fmla="*/ 2511425 h 3443730"/>
              <a:gd name="connsiteX1" fmla="*/ 2718485 w 4510872"/>
              <a:gd name="connsiteY1" fmla="*/ 2672626 h 3443730"/>
              <a:gd name="connsiteX2" fmla="*/ 2748342 w 4510872"/>
              <a:gd name="connsiteY2" fmla="*/ 2741285 h 3443730"/>
              <a:gd name="connsiteX3" fmla="*/ 2691614 w 4510872"/>
              <a:gd name="connsiteY3" fmla="*/ 2786063 h 3443730"/>
              <a:gd name="connsiteX4" fmla="*/ 2593087 w 4510872"/>
              <a:gd name="connsiteY4" fmla="*/ 2786063 h 3443730"/>
              <a:gd name="connsiteX5" fmla="*/ 2428875 w 4510872"/>
              <a:gd name="connsiteY5" fmla="*/ 2511425 h 3443730"/>
              <a:gd name="connsiteX6" fmla="*/ 4144539 w 4510872"/>
              <a:gd name="connsiteY6" fmla="*/ 1955800 h 3443730"/>
              <a:gd name="connsiteX7" fmla="*/ 4144539 w 4510872"/>
              <a:gd name="connsiteY7" fmla="*/ 2425578 h 3443730"/>
              <a:gd name="connsiteX8" fmla="*/ 2425928 w 4510872"/>
              <a:gd name="connsiteY8" fmla="*/ 2425578 h 3443730"/>
              <a:gd name="connsiteX9" fmla="*/ 2425928 w 4510872"/>
              <a:gd name="connsiteY9" fmla="*/ 2493963 h 3443730"/>
              <a:gd name="connsiteX10" fmla="*/ 2381250 w 4510872"/>
              <a:gd name="connsiteY10" fmla="*/ 2306647 h 3443730"/>
              <a:gd name="connsiteX11" fmla="*/ 4144539 w 4510872"/>
              <a:gd name="connsiteY11" fmla="*/ 2306647 h 3443730"/>
              <a:gd name="connsiteX12" fmla="*/ 4144539 w 4510872"/>
              <a:gd name="connsiteY12" fmla="*/ 1955800 h 3443730"/>
              <a:gd name="connsiteX13" fmla="*/ 3295553 w 4510872"/>
              <a:gd name="connsiteY13" fmla="*/ 1169783 h 3443730"/>
              <a:gd name="connsiteX14" fmla="*/ 2569208 w 4510872"/>
              <a:gd name="connsiteY14" fmla="*/ 1452235 h 3443730"/>
              <a:gd name="connsiteX15" fmla="*/ 2539439 w 4510872"/>
              <a:gd name="connsiteY15" fmla="*/ 2893146 h 3443730"/>
              <a:gd name="connsiteX16" fmla="*/ 3899849 w 4510872"/>
              <a:gd name="connsiteY16" fmla="*/ 2997344 h 3443730"/>
              <a:gd name="connsiteX17" fmla="*/ 3986177 w 4510872"/>
              <a:gd name="connsiteY17" fmla="*/ 2922917 h 3443730"/>
              <a:gd name="connsiteX18" fmla="*/ 4069528 w 4510872"/>
              <a:gd name="connsiteY18" fmla="*/ 2827650 h 3443730"/>
              <a:gd name="connsiteX19" fmla="*/ 4012968 w 4510872"/>
              <a:gd name="connsiteY19" fmla="*/ 1479028 h 3443730"/>
              <a:gd name="connsiteX20" fmla="*/ 3295553 w 4510872"/>
              <a:gd name="connsiteY20" fmla="*/ 1169783 h 3443730"/>
              <a:gd name="connsiteX21" fmla="*/ 3299874 w 4510872"/>
              <a:gd name="connsiteY21" fmla="*/ 1025826 h 3443730"/>
              <a:gd name="connsiteX22" fmla="*/ 4117875 w 4510872"/>
              <a:gd name="connsiteY22" fmla="*/ 1381236 h 3443730"/>
              <a:gd name="connsiteX23" fmla="*/ 4225056 w 4510872"/>
              <a:gd name="connsiteY23" fmla="*/ 2863910 h 3443730"/>
              <a:gd name="connsiteX24" fmla="*/ 4501941 w 4510872"/>
              <a:gd name="connsiteY24" fmla="*/ 3149726 h 3443730"/>
              <a:gd name="connsiteX25" fmla="*/ 4501941 w 4510872"/>
              <a:gd name="connsiteY25" fmla="*/ 3194385 h 3443730"/>
              <a:gd name="connsiteX26" fmla="*/ 4248875 w 4510872"/>
              <a:gd name="connsiteY26" fmla="*/ 3432566 h 3443730"/>
              <a:gd name="connsiteX27" fmla="*/ 4204216 w 4510872"/>
              <a:gd name="connsiteY27" fmla="*/ 3432566 h 3443730"/>
              <a:gd name="connsiteX28" fmla="*/ 3933285 w 4510872"/>
              <a:gd name="connsiteY28" fmla="*/ 3152703 h 3443730"/>
              <a:gd name="connsiteX29" fmla="*/ 2435726 w 4510872"/>
              <a:gd name="connsiteY29" fmla="*/ 2997886 h 3443730"/>
              <a:gd name="connsiteX30" fmla="*/ 2468475 w 4510872"/>
              <a:gd name="connsiteY30" fmla="*/ 1351464 h 3443730"/>
              <a:gd name="connsiteX31" fmla="*/ 3299874 w 4510872"/>
              <a:gd name="connsiteY31" fmla="*/ 1025826 h 3443730"/>
              <a:gd name="connsiteX32" fmla="*/ 59531 w 4510872"/>
              <a:gd name="connsiteY32" fmla="*/ 0 h 3443730"/>
              <a:gd name="connsiteX33" fmla="*/ 4202907 w 4510872"/>
              <a:gd name="connsiteY33" fmla="*/ 0 h 3443730"/>
              <a:gd name="connsiteX34" fmla="*/ 4262438 w 4510872"/>
              <a:gd name="connsiteY34" fmla="*/ 59531 h 3443730"/>
              <a:gd name="connsiteX35" fmla="*/ 4262438 w 4510872"/>
              <a:gd name="connsiteY35" fmla="*/ 1372196 h 3443730"/>
              <a:gd name="connsiteX36" fmla="*/ 4199930 w 4510872"/>
              <a:gd name="connsiteY36" fmla="*/ 1300758 h 3443730"/>
              <a:gd name="connsiteX37" fmla="*/ 4140399 w 4510872"/>
              <a:gd name="connsiteY37" fmla="*/ 1244204 h 3443730"/>
              <a:gd name="connsiteX38" fmla="*/ 4140399 w 4510872"/>
              <a:gd name="connsiteY38" fmla="*/ 122039 h 3443730"/>
              <a:gd name="connsiteX39" fmla="*/ 119062 w 4510872"/>
              <a:gd name="connsiteY39" fmla="*/ 122039 h 3443730"/>
              <a:gd name="connsiteX40" fmla="*/ 119062 w 4510872"/>
              <a:gd name="connsiteY40" fmla="*/ 2309813 h 3443730"/>
              <a:gd name="connsiteX41" fmla="*/ 1896070 w 4510872"/>
              <a:gd name="connsiteY41" fmla="*/ 2309813 h 3443730"/>
              <a:gd name="connsiteX42" fmla="*/ 1955602 w 4510872"/>
              <a:gd name="connsiteY42" fmla="*/ 2369344 h 3443730"/>
              <a:gd name="connsiteX43" fmla="*/ 1955602 w 4510872"/>
              <a:gd name="connsiteY43" fmla="*/ 2544962 h 3443730"/>
              <a:gd name="connsiteX44" fmla="*/ 1925836 w 4510872"/>
              <a:gd name="connsiteY44" fmla="*/ 2598540 h 3443730"/>
              <a:gd name="connsiteX45" fmla="*/ 1800820 w 4510872"/>
              <a:gd name="connsiteY45" fmla="*/ 2664024 h 3443730"/>
              <a:gd name="connsiteX46" fmla="*/ 2074664 w 4510872"/>
              <a:gd name="connsiteY46" fmla="*/ 2664024 h 3443730"/>
              <a:gd name="connsiteX47" fmla="*/ 2131219 w 4510872"/>
              <a:gd name="connsiteY47" fmla="*/ 2786063 h 3443730"/>
              <a:gd name="connsiteX48" fmla="*/ 1565672 w 4510872"/>
              <a:gd name="connsiteY48" fmla="*/ 2786063 h 3443730"/>
              <a:gd name="connsiteX49" fmla="*/ 1509117 w 4510872"/>
              <a:gd name="connsiteY49" fmla="*/ 2741415 h 3443730"/>
              <a:gd name="connsiteX50" fmla="*/ 1538883 w 4510872"/>
              <a:gd name="connsiteY50" fmla="*/ 2672954 h 3443730"/>
              <a:gd name="connsiteX51" fmla="*/ 1836539 w 4510872"/>
              <a:gd name="connsiteY51" fmla="*/ 2509243 h 3443730"/>
              <a:gd name="connsiteX52" fmla="*/ 1836539 w 4510872"/>
              <a:gd name="connsiteY52" fmla="*/ 2428876 h 3443730"/>
              <a:gd name="connsiteX53" fmla="*/ 59531 w 4510872"/>
              <a:gd name="connsiteY53" fmla="*/ 2428876 h 3443730"/>
              <a:gd name="connsiteX54" fmla="*/ 0 w 4510872"/>
              <a:gd name="connsiteY54" fmla="*/ 2369344 h 3443730"/>
              <a:gd name="connsiteX55" fmla="*/ 0 w 4510872"/>
              <a:gd name="connsiteY55" fmla="*/ 59531 h 3443730"/>
              <a:gd name="connsiteX56" fmla="*/ 59531 w 4510872"/>
              <a:gd name="connsiteY56" fmla="*/ 0 h 3443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4510872" h="3443730">
                <a:moveTo>
                  <a:pt x="2428875" y="2511425"/>
                </a:moveTo>
                <a:cubicBezTo>
                  <a:pt x="2428875" y="2511425"/>
                  <a:pt x="2428875" y="2511425"/>
                  <a:pt x="2718485" y="2672626"/>
                </a:cubicBezTo>
                <a:cubicBezTo>
                  <a:pt x="2742371" y="2687552"/>
                  <a:pt x="2754313" y="2714418"/>
                  <a:pt x="2748342" y="2741285"/>
                </a:cubicBezTo>
                <a:cubicBezTo>
                  <a:pt x="2742371" y="2768152"/>
                  <a:pt x="2718485" y="2786063"/>
                  <a:pt x="2691614" y="2786063"/>
                </a:cubicBezTo>
                <a:cubicBezTo>
                  <a:pt x="2691614" y="2786063"/>
                  <a:pt x="2691614" y="2786063"/>
                  <a:pt x="2593087" y="2786063"/>
                </a:cubicBezTo>
                <a:cubicBezTo>
                  <a:pt x="2518445" y="2702478"/>
                  <a:pt x="2464703" y="2609937"/>
                  <a:pt x="2428875" y="2511425"/>
                </a:cubicBezTo>
                <a:close/>
                <a:moveTo>
                  <a:pt x="4144539" y="1955800"/>
                </a:moveTo>
                <a:cubicBezTo>
                  <a:pt x="4186238" y="2110410"/>
                  <a:pt x="4186238" y="2270967"/>
                  <a:pt x="4144539" y="2425578"/>
                </a:cubicBezTo>
                <a:cubicBezTo>
                  <a:pt x="4144539" y="2425578"/>
                  <a:pt x="4144539" y="2425578"/>
                  <a:pt x="2425928" y="2425578"/>
                </a:cubicBezTo>
                <a:cubicBezTo>
                  <a:pt x="2425928" y="2425578"/>
                  <a:pt x="2425928" y="2425578"/>
                  <a:pt x="2425928" y="2493963"/>
                </a:cubicBezTo>
                <a:cubicBezTo>
                  <a:pt x="2405078" y="2434498"/>
                  <a:pt x="2390186" y="2372059"/>
                  <a:pt x="2381250" y="2306647"/>
                </a:cubicBezTo>
                <a:cubicBezTo>
                  <a:pt x="2381250" y="2306647"/>
                  <a:pt x="2381250" y="2306647"/>
                  <a:pt x="4144539" y="2306647"/>
                </a:cubicBezTo>
                <a:cubicBezTo>
                  <a:pt x="4144539" y="2306647"/>
                  <a:pt x="4144539" y="2306647"/>
                  <a:pt x="4144539" y="1955800"/>
                </a:cubicBezTo>
                <a:close/>
                <a:moveTo>
                  <a:pt x="3295553" y="1169783"/>
                </a:moveTo>
                <a:cubicBezTo>
                  <a:pt x="3034337" y="1164946"/>
                  <a:pt x="2771632" y="1258724"/>
                  <a:pt x="2569208" y="1452235"/>
                </a:cubicBezTo>
                <a:cubicBezTo>
                  <a:pt x="2161383" y="1845210"/>
                  <a:pt x="2149475" y="2488262"/>
                  <a:pt x="2539439" y="2893146"/>
                </a:cubicBezTo>
                <a:cubicBezTo>
                  <a:pt x="2905589" y="3274213"/>
                  <a:pt x="3492024" y="3309938"/>
                  <a:pt x="3899849" y="2997344"/>
                </a:cubicBezTo>
                <a:cubicBezTo>
                  <a:pt x="3929617" y="2973527"/>
                  <a:pt x="3959385" y="2946733"/>
                  <a:pt x="3986177" y="2922917"/>
                </a:cubicBezTo>
                <a:cubicBezTo>
                  <a:pt x="4015945" y="2893146"/>
                  <a:pt x="4042737" y="2860398"/>
                  <a:pt x="4069528" y="2827650"/>
                </a:cubicBezTo>
                <a:cubicBezTo>
                  <a:pt x="4391025" y="2434674"/>
                  <a:pt x="4376141" y="1854142"/>
                  <a:pt x="4012968" y="1479028"/>
                </a:cubicBezTo>
                <a:cubicBezTo>
                  <a:pt x="3816498" y="1278075"/>
                  <a:pt x="3556770" y="1174621"/>
                  <a:pt x="3295553" y="1169783"/>
                </a:cubicBezTo>
                <a:close/>
                <a:moveTo>
                  <a:pt x="3299874" y="1025826"/>
                </a:moveTo>
                <a:cubicBezTo>
                  <a:pt x="3598344" y="1031409"/>
                  <a:pt x="3894581" y="1150499"/>
                  <a:pt x="4117875" y="1381236"/>
                </a:cubicBezTo>
                <a:cubicBezTo>
                  <a:pt x="4510873" y="1792097"/>
                  <a:pt x="4546600" y="2417321"/>
                  <a:pt x="4225056" y="2863910"/>
                </a:cubicBezTo>
                <a:cubicBezTo>
                  <a:pt x="4501941" y="3149726"/>
                  <a:pt x="4501941" y="3149726"/>
                  <a:pt x="4501941" y="3149726"/>
                </a:cubicBezTo>
                <a:cubicBezTo>
                  <a:pt x="4513850" y="3161635"/>
                  <a:pt x="4513850" y="3185453"/>
                  <a:pt x="4501941" y="3194385"/>
                </a:cubicBezTo>
                <a:cubicBezTo>
                  <a:pt x="4248875" y="3432566"/>
                  <a:pt x="4248875" y="3432566"/>
                  <a:pt x="4248875" y="3432566"/>
                </a:cubicBezTo>
                <a:cubicBezTo>
                  <a:pt x="4239943" y="3447452"/>
                  <a:pt x="4219102" y="3447452"/>
                  <a:pt x="4204216" y="3432566"/>
                </a:cubicBezTo>
                <a:cubicBezTo>
                  <a:pt x="3933285" y="3152703"/>
                  <a:pt x="3933285" y="3152703"/>
                  <a:pt x="3933285" y="3152703"/>
                </a:cubicBezTo>
                <a:cubicBezTo>
                  <a:pt x="3471811" y="3462338"/>
                  <a:pt x="2834678" y="3408748"/>
                  <a:pt x="2435726" y="2997886"/>
                </a:cubicBezTo>
                <a:cubicBezTo>
                  <a:pt x="1989137" y="2533434"/>
                  <a:pt x="2004023" y="1795075"/>
                  <a:pt x="2468475" y="1351464"/>
                </a:cubicBezTo>
                <a:cubicBezTo>
                  <a:pt x="2700701" y="1128169"/>
                  <a:pt x="3001404" y="1020244"/>
                  <a:pt x="3299874" y="1025826"/>
                </a:cubicBezTo>
                <a:close/>
                <a:moveTo>
                  <a:pt x="59531" y="0"/>
                </a:moveTo>
                <a:cubicBezTo>
                  <a:pt x="59531" y="0"/>
                  <a:pt x="59531" y="0"/>
                  <a:pt x="4202907" y="0"/>
                </a:cubicBezTo>
                <a:cubicBezTo>
                  <a:pt x="4232673" y="0"/>
                  <a:pt x="4262438" y="26789"/>
                  <a:pt x="4262438" y="59531"/>
                </a:cubicBezTo>
                <a:cubicBezTo>
                  <a:pt x="4262438" y="59531"/>
                  <a:pt x="4262438" y="59531"/>
                  <a:pt x="4262438" y="1372196"/>
                </a:cubicBezTo>
                <a:cubicBezTo>
                  <a:pt x="4241602" y="1345407"/>
                  <a:pt x="4220766" y="1321594"/>
                  <a:pt x="4199930" y="1300758"/>
                </a:cubicBezTo>
                <a:cubicBezTo>
                  <a:pt x="4179094" y="1279922"/>
                  <a:pt x="4161235" y="1262063"/>
                  <a:pt x="4140399" y="1244204"/>
                </a:cubicBezTo>
                <a:cubicBezTo>
                  <a:pt x="4140399" y="1244204"/>
                  <a:pt x="4140399" y="1244204"/>
                  <a:pt x="4140399" y="122039"/>
                </a:cubicBezTo>
                <a:cubicBezTo>
                  <a:pt x="4140399" y="122039"/>
                  <a:pt x="4140399" y="122039"/>
                  <a:pt x="119062" y="122039"/>
                </a:cubicBezTo>
                <a:cubicBezTo>
                  <a:pt x="119062" y="122039"/>
                  <a:pt x="119062" y="122039"/>
                  <a:pt x="119062" y="2309813"/>
                </a:cubicBezTo>
                <a:cubicBezTo>
                  <a:pt x="119062" y="2309813"/>
                  <a:pt x="119062" y="2309813"/>
                  <a:pt x="1896070" y="2309813"/>
                </a:cubicBezTo>
                <a:cubicBezTo>
                  <a:pt x="1931789" y="2309813"/>
                  <a:pt x="1955602" y="2336602"/>
                  <a:pt x="1955602" y="2369344"/>
                </a:cubicBezTo>
                <a:cubicBezTo>
                  <a:pt x="1955602" y="2369344"/>
                  <a:pt x="1955602" y="2369344"/>
                  <a:pt x="1955602" y="2544962"/>
                </a:cubicBezTo>
                <a:cubicBezTo>
                  <a:pt x="1955602" y="2565797"/>
                  <a:pt x="1943695" y="2589610"/>
                  <a:pt x="1925836" y="2598540"/>
                </a:cubicBezTo>
                <a:cubicBezTo>
                  <a:pt x="1925836" y="2598540"/>
                  <a:pt x="1925836" y="2598540"/>
                  <a:pt x="1800820" y="2664024"/>
                </a:cubicBezTo>
                <a:cubicBezTo>
                  <a:pt x="1800820" y="2664024"/>
                  <a:pt x="1800820" y="2664024"/>
                  <a:pt x="2074664" y="2664024"/>
                </a:cubicBezTo>
                <a:cubicBezTo>
                  <a:pt x="2092523" y="2705696"/>
                  <a:pt x="2110383" y="2747368"/>
                  <a:pt x="2131219" y="2786063"/>
                </a:cubicBezTo>
                <a:cubicBezTo>
                  <a:pt x="2131219" y="2786063"/>
                  <a:pt x="2131219" y="2786063"/>
                  <a:pt x="1565672" y="2786063"/>
                </a:cubicBezTo>
                <a:cubicBezTo>
                  <a:pt x="1538883" y="2786063"/>
                  <a:pt x="1515070" y="2768204"/>
                  <a:pt x="1509117" y="2741415"/>
                </a:cubicBezTo>
                <a:cubicBezTo>
                  <a:pt x="1500187" y="2714626"/>
                  <a:pt x="1515070" y="2687837"/>
                  <a:pt x="1538883" y="2672954"/>
                </a:cubicBezTo>
                <a:cubicBezTo>
                  <a:pt x="1538883" y="2672954"/>
                  <a:pt x="1538883" y="2672954"/>
                  <a:pt x="1836539" y="2509243"/>
                </a:cubicBezTo>
                <a:cubicBezTo>
                  <a:pt x="1836539" y="2509243"/>
                  <a:pt x="1836539" y="2509243"/>
                  <a:pt x="1836539" y="2428876"/>
                </a:cubicBezTo>
                <a:cubicBezTo>
                  <a:pt x="1836539" y="2428876"/>
                  <a:pt x="1836539" y="2428876"/>
                  <a:pt x="59531" y="2428876"/>
                </a:cubicBezTo>
                <a:cubicBezTo>
                  <a:pt x="23812" y="2428876"/>
                  <a:pt x="0" y="2402086"/>
                  <a:pt x="0" y="2369344"/>
                </a:cubicBezTo>
                <a:cubicBezTo>
                  <a:pt x="0" y="2369344"/>
                  <a:pt x="0" y="2369344"/>
                  <a:pt x="0" y="59531"/>
                </a:cubicBezTo>
                <a:cubicBezTo>
                  <a:pt x="0" y="26789"/>
                  <a:pt x="23812" y="0"/>
                  <a:pt x="59531" y="0"/>
                </a:cubicBezTo>
                <a:close/>
              </a:path>
            </a:pathLst>
          </a:custGeom>
          <a:solidFill>
            <a:srgbClr val="98A6CC"/>
          </a:solidFill>
          <a:ln>
            <a:noFill/>
          </a:ln>
          <a:extLst/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400" dirty="0"/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1926157" y="2771961"/>
            <a:ext cx="720313" cy="579922"/>
          </a:xfrm>
          <a:custGeom>
            <a:avLst/>
            <a:gdLst>
              <a:gd name="connsiteX0" fmla="*/ 4426759 w 5353486"/>
              <a:gd name="connsiteY0" fmla="*/ 3108325 h 4310063"/>
              <a:gd name="connsiteX1" fmla="*/ 4179889 w 5353486"/>
              <a:gd name="connsiteY1" fmla="*/ 3349339 h 4310063"/>
              <a:gd name="connsiteX2" fmla="*/ 4979985 w 5353486"/>
              <a:gd name="connsiteY2" fmla="*/ 4188424 h 4310063"/>
              <a:gd name="connsiteX3" fmla="*/ 5146548 w 5353486"/>
              <a:gd name="connsiteY3" fmla="*/ 4111061 h 4310063"/>
              <a:gd name="connsiteX4" fmla="*/ 5226855 w 5353486"/>
              <a:gd name="connsiteY4" fmla="*/ 3997993 h 4310063"/>
              <a:gd name="connsiteX5" fmla="*/ 5229829 w 5353486"/>
              <a:gd name="connsiteY5" fmla="*/ 3947410 h 4310063"/>
              <a:gd name="connsiteX6" fmla="*/ 4426759 w 5353486"/>
              <a:gd name="connsiteY6" fmla="*/ 3108325 h 4310063"/>
              <a:gd name="connsiteX7" fmla="*/ 4429524 w 5353486"/>
              <a:gd name="connsiteY7" fmla="*/ 2965450 h 4310063"/>
              <a:gd name="connsiteX8" fmla="*/ 4474172 w 5353486"/>
              <a:gd name="connsiteY8" fmla="*/ 2983299 h 4310063"/>
              <a:gd name="connsiteX9" fmla="*/ 5316539 w 5353486"/>
              <a:gd name="connsiteY9" fmla="*/ 3863842 h 4310063"/>
              <a:gd name="connsiteX10" fmla="*/ 5340352 w 5353486"/>
              <a:gd name="connsiteY10" fmla="*/ 4033406 h 4310063"/>
              <a:gd name="connsiteX11" fmla="*/ 5230219 w 5353486"/>
              <a:gd name="connsiteY11" fmla="*/ 4197021 h 4310063"/>
              <a:gd name="connsiteX12" fmla="*/ 4998047 w 5353486"/>
              <a:gd name="connsiteY12" fmla="*/ 4310063 h 4310063"/>
              <a:gd name="connsiteX13" fmla="*/ 4893867 w 5353486"/>
              <a:gd name="connsiteY13" fmla="*/ 4268416 h 4310063"/>
              <a:gd name="connsiteX14" fmla="*/ 4051500 w 5353486"/>
              <a:gd name="connsiteY14" fmla="*/ 3387873 h 4310063"/>
              <a:gd name="connsiteX15" fmla="*/ 4051500 w 5353486"/>
              <a:gd name="connsiteY15" fmla="*/ 3304578 h 4310063"/>
              <a:gd name="connsiteX16" fmla="*/ 4387852 w 5353486"/>
              <a:gd name="connsiteY16" fmla="*/ 2980324 h 4310063"/>
              <a:gd name="connsiteX17" fmla="*/ 4429524 w 5353486"/>
              <a:gd name="connsiteY17" fmla="*/ 2965450 h 4310063"/>
              <a:gd name="connsiteX18" fmla="*/ 2509837 w 5353486"/>
              <a:gd name="connsiteY18" fmla="*/ 1616075 h 4310063"/>
              <a:gd name="connsiteX19" fmla="*/ 2509837 w 5353486"/>
              <a:gd name="connsiteY19" fmla="*/ 1735138 h 4310063"/>
              <a:gd name="connsiteX20" fmla="*/ 3462337 w 5353486"/>
              <a:gd name="connsiteY20" fmla="*/ 1735138 h 4310063"/>
              <a:gd name="connsiteX21" fmla="*/ 3462337 w 5353486"/>
              <a:gd name="connsiteY21" fmla="*/ 1616075 h 4310063"/>
              <a:gd name="connsiteX22" fmla="*/ 2509837 w 5353486"/>
              <a:gd name="connsiteY22" fmla="*/ 1616075 h 4310063"/>
              <a:gd name="connsiteX23" fmla="*/ 288925 w 5353486"/>
              <a:gd name="connsiteY23" fmla="*/ 1616075 h 4310063"/>
              <a:gd name="connsiteX24" fmla="*/ 288925 w 5353486"/>
              <a:gd name="connsiteY24" fmla="*/ 1735138 h 4310063"/>
              <a:gd name="connsiteX25" fmla="*/ 1244600 w 5353486"/>
              <a:gd name="connsiteY25" fmla="*/ 1735138 h 4310063"/>
              <a:gd name="connsiteX26" fmla="*/ 1244600 w 5353486"/>
              <a:gd name="connsiteY26" fmla="*/ 1616075 h 4310063"/>
              <a:gd name="connsiteX27" fmla="*/ 288925 w 5353486"/>
              <a:gd name="connsiteY27" fmla="*/ 1616075 h 4310063"/>
              <a:gd name="connsiteX28" fmla="*/ 2509837 w 5353486"/>
              <a:gd name="connsiteY28" fmla="*/ 1301750 h 4310063"/>
              <a:gd name="connsiteX29" fmla="*/ 2509837 w 5353486"/>
              <a:gd name="connsiteY29" fmla="*/ 1420813 h 4310063"/>
              <a:gd name="connsiteX30" fmla="*/ 3462337 w 5353486"/>
              <a:gd name="connsiteY30" fmla="*/ 1420813 h 4310063"/>
              <a:gd name="connsiteX31" fmla="*/ 3462337 w 5353486"/>
              <a:gd name="connsiteY31" fmla="*/ 1301750 h 4310063"/>
              <a:gd name="connsiteX32" fmla="*/ 2509837 w 5353486"/>
              <a:gd name="connsiteY32" fmla="*/ 1301750 h 4310063"/>
              <a:gd name="connsiteX33" fmla="*/ 288925 w 5353486"/>
              <a:gd name="connsiteY33" fmla="*/ 1301750 h 4310063"/>
              <a:gd name="connsiteX34" fmla="*/ 288925 w 5353486"/>
              <a:gd name="connsiteY34" fmla="*/ 1420813 h 4310063"/>
              <a:gd name="connsiteX35" fmla="*/ 1244600 w 5353486"/>
              <a:gd name="connsiteY35" fmla="*/ 1420813 h 4310063"/>
              <a:gd name="connsiteX36" fmla="*/ 1244600 w 5353486"/>
              <a:gd name="connsiteY36" fmla="*/ 1301750 h 4310063"/>
              <a:gd name="connsiteX37" fmla="*/ 288925 w 5353486"/>
              <a:gd name="connsiteY37" fmla="*/ 1301750 h 4310063"/>
              <a:gd name="connsiteX38" fmla="*/ 2703501 w 5353486"/>
              <a:gd name="connsiteY38" fmla="*/ 1101725 h 4310063"/>
              <a:gd name="connsiteX39" fmla="*/ 3360846 w 5353486"/>
              <a:gd name="connsiteY39" fmla="*/ 1101725 h 4310063"/>
              <a:gd name="connsiteX40" fmla="*/ 3679108 w 5353486"/>
              <a:gd name="connsiteY40" fmla="*/ 1313215 h 4310063"/>
              <a:gd name="connsiteX41" fmla="*/ 3786187 w 5353486"/>
              <a:gd name="connsiteY41" fmla="*/ 1447258 h 4310063"/>
              <a:gd name="connsiteX42" fmla="*/ 3786187 w 5353486"/>
              <a:gd name="connsiteY42" fmla="*/ 1894067 h 4310063"/>
              <a:gd name="connsiteX43" fmla="*/ 3759417 w 5353486"/>
              <a:gd name="connsiteY43" fmla="*/ 1920875 h 4310063"/>
              <a:gd name="connsiteX44" fmla="*/ 2138362 w 5353486"/>
              <a:gd name="connsiteY44" fmla="*/ 1920875 h 4310063"/>
              <a:gd name="connsiteX45" fmla="*/ 2162158 w 5353486"/>
              <a:gd name="connsiteY45" fmla="*/ 1736194 h 4310063"/>
              <a:gd name="connsiteX46" fmla="*/ 2370366 w 5353486"/>
              <a:gd name="connsiteY46" fmla="*/ 1736194 h 4310063"/>
              <a:gd name="connsiteX47" fmla="*/ 2370366 w 5353486"/>
              <a:gd name="connsiteY47" fmla="*/ 1617045 h 4310063"/>
              <a:gd name="connsiteX48" fmla="*/ 2197851 w 5353486"/>
              <a:gd name="connsiteY48" fmla="*/ 1617045 h 4310063"/>
              <a:gd name="connsiteX49" fmla="*/ 2298981 w 5353486"/>
              <a:gd name="connsiteY49" fmla="*/ 1420449 h 4310063"/>
              <a:gd name="connsiteX50" fmla="*/ 2370366 w 5353486"/>
              <a:gd name="connsiteY50" fmla="*/ 1420449 h 4310063"/>
              <a:gd name="connsiteX51" fmla="*/ 2370366 w 5353486"/>
              <a:gd name="connsiteY51" fmla="*/ 1331087 h 4310063"/>
              <a:gd name="connsiteX52" fmla="*/ 2414983 w 5353486"/>
              <a:gd name="connsiteY52" fmla="*/ 1289385 h 4310063"/>
              <a:gd name="connsiteX53" fmla="*/ 2703501 w 5353486"/>
              <a:gd name="connsiteY53" fmla="*/ 1101725 h 4310063"/>
              <a:gd name="connsiteX54" fmla="*/ 288925 w 5353486"/>
              <a:gd name="connsiteY54" fmla="*/ 979487 h 4310063"/>
              <a:gd name="connsiteX55" fmla="*/ 288925 w 5353486"/>
              <a:gd name="connsiteY55" fmla="*/ 1098550 h 4310063"/>
              <a:gd name="connsiteX56" fmla="*/ 1244600 w 5353486"/>
              <a:gd name="connsiteY56" fmla="*/ 1098550 h 4310063"/>
              <a:gd name="connsiteX57" fmla="*/ 1244600 w 5353486"/>
              <a:gd name="connsiteY57" fmla="*/ 979487 h 4310063"/>
              <a:gd name="connsiteX58" fmla="*/ 288925 w 5353486"/>
              <a:gd name="connsiteY58" fmla="*/ 979487 h 4310063"/>
              <a:gd name="connsiteX59" fmla="*/ 1417637 w 5353486"/>
              <a:gd name="connsiteY59" fmla="*/ 663575 h 4310063"/>
              <a:gd name="connsiteX60" fmla="*/ 1417637 w 5353486"/>
              <a:gd name="connsiteY60" fmla="*/ 782638 h 4310063"/>
              <a:gd name="connsiteX61" fmla="*/ 2370137 w 5353486"/>
              <a:gd name="connsiteY61" fmla="*/ 782638 h 4310063"/>
              <a:gd name="connsiteX62" fmla="*/ 2370137 w 5353486"/>
              <a:gd name="connsiteY62" fmla="*/ 663575 h 4310063"/>
              <a:gd name="connsiteX63" fmla="*/ 1417637 w 5353486"/>
              <a:gd name="connsiteY63" fmla="*/ 663575 h 4310063"/>
              <a:gd name="connsiteX64" fmla="*/ 288925 w 5353486"/>
              <a:gd name="connsiteY64" fmla="*/ 663575 h 4310063"/>
              <a:gd name="connsiteX65" fmla="*/ 288925 w 5353486"/>
              <a:gd name="connsiteY65" fmla="*/ 782638 h 4310063"/>
              <a:gd name="connsiteX66" fmla="*/ 1244600 w 5353486"/>
              <a:gd name="connsiteY66" fmla="*/ 782638 h 4310063"/>
              <a:gd name="connsiteX67" fmla="*/ 1244600 w 5353486"/>
              <a:gd name="connsiteY67" fmla="*/ 663575 h 4310063"/>
              <a:gd name="connsiteX68" fmla="*/ 288925 w 5353486"/>
              <a:gd name="connsiteY68" fmla="*/ 663575 h 4310063"/>
              <a:gd name="connsiteX69" fmla="*/ 2572947 w 5353486"/>
              <a:gd name="connsiteY69" fmla="*/ 182562 h 4310063"/>
              <a:gd name="connsiteX70" fmla="*/ 2543175 w 5353486"/>
              <a:gd name="connsiteY70" fmla="*/ 209288 h 4310063"/>
              <a:gd name="connsiteX71" fmla="*/ 2543175 w 5353486"/>
              <a:gd name="connsiteY71" fmla="*/ 405279 h 4310063"/>
              <a:gd name="connsiteX72" fmla="*/ 2572947 w 5353486"/>
              <a:gd name="connsiteY72" fmla="*/ 434975 h 4310063"/>
              <a:gd name="connsiteX73" fmla="*/ 3472056 w 5353486"/>
              <a:gd name="connsiteY73" fmla="*/ 434975 h 4310063"/>
              <a:gd name="connsiteX74" fmla="*/ 3498850 w 5353486"/>
              <a:gd name="connsiteY74" fmla="*/ 405279 h 4310063"/>
              <a:gd name="connsiteX75" fmla="*/ 3498850 w 5353486"/>
              <a:gd name="connsiteY75" fmla="*/ 209288 h 4310063"/>
              <a:gd name="connsiteX76" fmla="*/ 3472056 w 5353486"/>
              <a:gd name="connsiteY76" fmla="*/ 182562 h 4310063"/>
              <a:gd name="connsiteX77" fmla="*/ 2572947 w 5353486"/>
              <a:gd name="connsiteY77" fmla="*/ 182562 h 4310063"/>
              <a:gd name="connsiteX78" fmla="*/ 1444426 w 5353486"/>
              <a:gd name="connsiteY78" fmla="*/ 182562 h 4310063"/>
              <a:gd name="connsiteX79" fmla="*/ 1417637 w 5353486"/>
              <a:gd name="connsiteY79" fmla="*/ 209288 h 4310063"/>
              <a:gd name="connsiteX80" fmla="*/ 1417637 w 5353486"/>
              <a:gd name="connsiteY80" fmla="*/ 405279 h 4310063"/>
              <a:gd name="connsiteX81" fmla="*/ 1444426 w 5353486"/>
              <a:gd name="connsiteY81" fmla="*/ 434975 h 4310063"/>
              <a:gd name="connsiteX82" fmla="*/ 2343348 w 5353486"/>
              <a:gd name="connsiteY82" fmla="*/ 434975 h 4310063"/>
              <a:gd name="connsiteX83" fmla="*/ 2370137 w 5353486"/>
              <a:gd name="connsiteY83" fmla="*/ 405279 h 4310063"/>
              <a:gd name="connsiteX84" fmla="*/ 2370137 w 5353486"/>
              <a:gd name="connsiteY84" fmla="*/ 209288 h 4310063"/>
              <a:gd name="connsiteX85" fmla="*/ 2343348 w 5353486"/>
              <a:gd name="connsiteY85" fmla="*/ 182562 h 4310063"/>
              <a:gd name="connsiteX86" fmla="*/ 1444426 w 5353486"/>
              <a:gd name="connsiteY86" fmla="*/ 182562 h 4310063"/>
              <a:gd name="connsiteX87" fmla="*/ 315720 w 5353486"/>
              <a:gd name="connsiteY87" fmla="*/ 182562 h 4310063"/>
              <a:gd name="connsiteX88" fmla="*/ 288925 w 5353486"/>
              <a:gd name="connsiteY88" fmla="*/ 209288 h 4310063"/>
              <a:gd name="connsiteX89" fmla="*/ 288925 w 5353486"/>
              <a:gd name="connsiteY89" fmla="*/ 405279 h 4310063"/>
              <a:gd name="connsiteX90" fmla="*/ 315720 w 5353486"/>
              <a:gd name="connsiteY90" fmla="*/ 434975 h 4310063"/>
              <a:gd name="connsiteX91" fmla="*/ 1217806 w 5353486"/>
              <a:gd name="connsiteY91" fmla="*/ 434975 h 4310063"/>
              <a:gd name="connsiteX92" fmla="*/ 1244600 w 5353486"/>
              <a:gd name="connsiteY92" fmla="*/ 405279 h 4310063"/>
              <a:gd name="connsiteX93" fmla="*/ 1244600 w 5353486"/>
              <a:gd name="connsiteY93" fmla="*/ 209288 h 4310063"/>
              <a:gd name="connsiteX94" fmla="*/ 1217806 w 5353486"/>
              <a:gd name="connsiteY94" fmla="*/ 182562 h 4310063"/>
              <a:gd name="connsiteX95" fmla="*/ 315720 w 5353486"/>
              <a:gd name="connsiteY95" fmla="*/ 182562 h 4310063"/>
              <a:gd name="connsiteX96" fmla="*/ 26789 w 5353486"/>
              <a:gd name="connsiteY96" fmla="*/ 0 h 4310063"/>
              <a:gd name="connsiteX97" fmla="*/ 3759399 w 5353486"/>
              <a:gd name="connsiteY97" fmla="*/ 0 h 4310063"/>
              <a:gd name="connsiteX98" fmla="*/ 3786188 w 5353486"/>
              <a:gd name="connsiteY98" fmla="*/ 26803 h 4310063"/>
              <a:gd name="connsiteX99" fmla="*/ 3786188 w 5353486"/>
              <a:gd name="connsiteY99" fmla="*/ 884496 h 4310063"/>
              <a:gd name="connsiteX100" fmla="*/ 3461743 w 5353486"/>
              <a:gd name="connsiteY100" fmla="*/ 717722 h 4310063"/>
              <a:gd name="connsiteX101" fmla="*/ 3461743 w 5353486"/>
              <a:gd name="connsiteY101" fmla="*/ 664117 h 4310063"/>
              <a:gd name="connsiteX102" fmla="*/ 3247430 w 5353486"/>
              <a:gd name="connsiteY102" fmla="*/ 664117 h 4310063"/>
              <a:gd name="connsiteX103" fmla="*/ 3033118 w 5353486"/>
              <a:gd name="connsiteY103" fmla="*/ 646248 h 4310063"/>
              <a:gd name="connsiteX104" fmla="*/ 2821782 w 5353486"/>
              <a:gd name="connsiteY104" fmla="*/ 664117 h 4310063"/>
              <a:gd name="connsiteX105" fmla="*/ 2506266 w 5353486"/>
              <a:gd name="connsiteY105" fmla="*/ 664117 h 4310063"/>
              <a:gd name="connsiteX106" fmla="*/ 2506266 w 5353486"/>
              <a:gd name="connsiteY106" fmla="*/ 756438 h 4310063"/>
              <a:gd name="connsiteX107" fmla="*/ 2163961 w 5353486"/>
              <a:gd name="connsiteY107" fmla="*/ 979795 h 4310063"/>
              <a:gd name="connsiteX108" fmla="*/ 1416844 w 5353486"/>
              <a:gd name="connsiteY108" fmla="*/ 979795 h 4310063"/>
              <a:gd name="connsiteX109" fmla="*/ 1416844 w 5353486"/>
              <a:gd name="connsiteY109" fmla="*/ 1098919 h 4310063"/>
              <a:gd name="connsiteX110" fmla="*/ 2047875 w 5353486"/>
              <a:gd name="connsiteY110" fmla="*/ 1098919 h 4310063"/>
              <a:gd name="connsiteX111" fmla="*/ 1910954 w 5353486"/>
              <a:gd name="connsiteY111" fmla="*/ 1301430 h 4310063"/>
              <a:gd name="connsiteX112" fmla="*/ 1416844 w 5353486"/>
              <a:gd name="connsiteY112" fmla="*/ 1301430 h 4310063"/>
              <a:gd name="connsiteX113" fmla="*/ 1416844 w 5353486"/>
              <a:gd name="connsiteY113" fmla="*/ 1420554 h 4310063"/>
              <a:gd name="connsiteX114" fmla="*/ 1848446 w 5353486"/>
              <a:gd name="connsiteY114" fmla="*/ 1420554 h 4310063"/>
              <a:gd name="connsiteX115" fmla="*/ 1782961 w 5353486"/>
              <a:gd name="connsiteY115" fmla="*/ 1617109 h 4310063"/>
              <a:gd name="connsiteX116" fmla="*/ 1416844 w 5353486"/>
              <a:gd name="connsiteY116" fmla="*/ 1617109 h 4310063"/>
              <a:gd name="connsiteX117" fmla="*/ 1416844 w 5353486"/>
              <a:gd name="connsiteY117" fmla="*/ 1736233 h 4310063"/>
              <a:gd name="connsiteX118" fmla="*/ 1759149 w 5353486"/>
              <a:gd name="connsiteY118" fmla="*/ 1736233 h 4310063"/>
              <a:gd name="connsiteX119" fmla="*/ 1744266 w 5353486"/>
              <a:gd name="connsiteY119" fmla="*/ 1920875 h 4310063"/>
              <a:gd name="connsiteX120" fmla="*/ 26789 w 5353486"/>
              <a:gd name="connsiteY120" fmla="*/ 1920875 h 4310063"/>
              <a:gd name="connsiteX121" fmla="*/ 0 w 5353486"/>
              <a:gd name="connsiteY121" fmla="*/ 1894072 h 4310063"/>
              <a:gd name="connsiteX122" fmla="*/ 0 w 5353486"/>
              <a:gd name="connsiteY122" fmla="*/ 26803 h 4310063"/>
              <a:gd name="connsiteX123" fmla="*/ 26789 w 5353486"/>
              <a:gd name="connsiteY123" fmla="*/ 0 h 4310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5353486" h="4310063">
                <a:moveTo>
                  <a:pt x="4426759" y="3108325"/>
                </a:moveTo>
                <a:cubicBezTo>
                  <a:pt x="4179889" y="3349339"/>
                  <a:pt x="4179889" y="3349339"/>
                  <a:pt x="4179889" y="3349339"/>
                </a:cubicBezTo>
                <a:cubicBezTo>
                  <a:pt x="4979985" y="4188424"/>
                  <a:pt x="4979985" y="4188424"/>
                  <a:pt x="4979985" y="4188424"/>
                </a:cubicBezTo>
                <a:cubicBezTo>
                  <a:pt x="4988908" y="4197350"/>
                  <a:pt x="5066241" y="4188424"/>
                  <a:pt x="5146548" y="4111061"/>
                </a:cubicBezTo>
                <a:cubicBezTo>
                  <a:pt x="5185214" y="4075356"/>
                  <a:pt x="5211983" y="4033699"/>
                  <a:pt x="5226855" y="3997993"/>
                </a:cubicBezTo>
                <a:cubicBezTo>
                  <a:pt x="5238752" y="3968238"/>
                  <a:pt x="5232804" y="3950386"/>
                  <a:pt x="5229829" y="3947410"/>
                </a:cubicBezTo>
                <a:cubicBezTo>
                  <a:pt x="4426759" y="3108325"/>
                  <a:pt x="4426759" y="3108325"/>
                  <a:pt x="4426759" y="3108325"/>
                </a:cubicBezTo>
                <a:close/>
                <a:moveTo>
                  <a:pt x="4429524" y="2965450"/>
                </a:moveTo>
                <a:cubicBezTo>
                  <a:pt x="4447383" y="2965450"/>
                  <a:pt x="4462266" y="2971400"/>
                  <a:pt x="4474172" y="2983299"/>
                </a:cubicBezTo>
                <a:cubicBezTo>
                  <a:pt x="5316539" y="3863842"/>
                  <a:pt x="5316539" y="3863842"/>
                  <a:pt x="5316539" y="3863842"/>
                </a:cubicBezTo>
                <a:cubicBezTo>
                  <a:pt x="5355234" y="3905489"/>
                  <a:pt x="5364164" y="3967960"/>
                  <a:pt x="5340352" y="4033406"/>
                </a:cubicBezTo>
                <a:cubicBezTo>
                  <a:pt x="5322492" y="4089927"/>
                  <a:pt x="5280820" y="4149424"/>
                  <a:pt x="5230219" y="4197021"/>
                </a:cubicBezTo>
                <a:cubicBezTo>
                  <a:pt x="5152828" y="4271391"/>
                  <a:pt x="5069485" y="4310063"/>
                  <a:pt x="4998047" y="4310063"/>
                </a:cubicBezTo>
                <a:cubicBezTo>
                  <a:pt x="4956375" y="4310063"/>
                  <a:pt x="4920656" y="4295189"/>
                  <a:pt x="4893867" y="4268416"/>
                </a:cubicBezTo>
                <a:cubicBezTo>
                  <a:pt x="4051500" y="3387873"/>
                  <a:pt x="4051500" y="3387873"/>
                  <a:pt x="4051500" y="3387873"/>
                </a:cubicBezTo>
                <a:cubicBezTo>
                  <a:pt x="4030664" y="3364074"/>
                  <a:pt x="4030664" y="3328377"/>
                  <a:pt x="4051500" y="3304578"/>
                </a:cubicBezTo>
                <a:cubicBezTo>
                  <a:pt x="4387852" y="2980324"/>
                  <a:pt x="4387852" y="2980324"/>
                  <a:pt x="4387852" y="2980324"/>
                </a:cubicBezTo>
                <a:cubicBezTo>
                  <a:pt x="4399758" y="2968425"/>
                  <a:pt x="4414641" y="2965450"/>
                  <a:pt x="4429524" y="2965450"/>
                </a:cubicBezTo>
                <a:close/>
                <a:moveTo>
                  <a:pt x="2509837" y="1616075"/>
                </a:moveTo>
                <a:cubicBezTo>
                  <a:pt x="2509837" y="1616075"/>
                  <a:pt x="2509837" y="1616075"/>
                  <a:pt x="2509837" y="1735138"/>
                </a:cubicBezTo>
                <a:cubicBezTo>
                  <a:pt x="2509837" y="1735138"/>
                  <a:pt x="2509837" y="1735138"/>
                  <a:pt x="3462337" y="1735138"/>
                </a:cubicBezTo>
                <a:cubicBezTo>
                  <a:pt x="3462337" y="1735138"/>
                  <a:pt x="3462337" y="1735138"/>
                  <a:pt x="3462337" y="1616075"/>
                </a:cubicBezTo>
                <a:cubicBezTo>
                  <a:pt x="3462337" y="1616075"/>
                  <a:pt x="3462337" y="1616075"/>
                  <a:pt x="2509837" y="1616075"/>
                </a:cubicBezTo>
                <a:close/>
                <a:moveTo>
                  <a:pt x="288925" y="1616075"/>
                </a:moveTo>
                <a:cubicBezTo>
                  <a:pt x="288925" y="1616075"/>
                  <a:pt x="288925" y="1616075"/>
                  <a:pt x="288925" y="1735138"/>
                </a:cubicBezTo>
                <a:cubicBezTo>
                  <a:pt x="288925" y="1735138"/>
                  <a:pt x="288925" y="1735138"/>
                  <a:pt x="1244600" y="1735138"/>
                </a:cubicBezTo>
                <a:cubicBezTo>
                  <a:pt x="1244600" y="1735138"/>
                  <a:pt x="1244600" y="1735138"/>
                  <a:pt x="1244600" y="1616075"/>
                </a:cubicBezTo>
                <a:cubicBezTo>
                  <a:pt x="1244600" y="1616075"/>
                  <a:pt x="1244600" y="1616075"/>
                  <a:pt x="288925" y="1616075"/>
                </a:cubicBezTo>
                <a:close/>
                <a:moveTo>
                  <a:pt x="2509837" y="1301750"/>
                </a:moveTo>
                <a:cubicBezTo>
                  <a:pt x="2509837" y="1301750"/>
                  <a:pt x="2509837" y="1301750"/>
                  <a:pt x="2509837" y="1420813"/>
                </a:cubicBezTo>
                <a:cubicBezTo>
                  <a:pt x="2509837" y="1420813"/>
                  <a:pt x="2509837" y="1420813"/>
                  <a:pt x="3462337" y="1420813"/>
                </a:cubicBezTo>
                <a:cubicBezTo>
                  <a:pt x="3462337" y="1420813"/>
                  <a:pt x="3462337" y="1420813"/>
                  <a:pt x="3462337" y="1301750"/>
                </a:cubicBezTo>
                <a:cubicBezTo>
                  <a:pt x="3462337" y="1301750"/>
                  <a:pt x="3462337" y="1301750"/>
                  <a:pt x="2509837" y="1301750"/>
                </a:cubicBezTo>
                <a:close/>
                <a:moveTo>
                  <a:pt x="288925" y="1301750"/>
                </a:moveTo>
                <a:cubicBezTo>
                  <a:pt x="288925" y="1301750"/>
                  <a:pt x="288925" y="1301750"/>
                  <a:pt x="288925" y="1420813"/>
                </a:cubicBezTo>
                <a:cubicBezTo>
                  <a:pt x="288925" y="1420813"/>
                  <a:pt x="288925" y="1420813"/>
                  <a:pt x="1244600" y="1420813"/>
                </a:cubicBezTo>
                <a:cubicBezTo>
                  <a:pt x="1244600" y="1420813"/>
                  <a:pt x="1244600" y="1420813"/>
                  <a:pt x="1244600" y="1301750"/>
                </a:cubicBezTo>
                <a:cubicBezTo>
                  <a:pt x="1244600" y="1301750"/>
                  <a:pt x="1244600" y="1301750"/>
                  <a:pt x="288925" y="1301750"/>
                </a:cubicBezTo>
                <a:close/>
                <a:moveTo>
                  <a:pt x="2703501" y="1101725"/>
                </a:moveTo>
                <a:cubicBezTo>
                  <a:pt x="2703501" y="1101725"/>
                  <a:pt x="2703501" y="1101725"/>
                  <a:pt x="3360846" y="1101725"/>
                </a:cubicBezTo>
                <a:cubicBezTo>
                  <a:pt x="3479823" y="1149385"/>
                  <a:pt x="3586901" y="1217895"/>
                  <a:pt x="3679108" y="1313215"/>
                </a:cubicBezTo>
                <a:cubicBezTo>
                  <a:pt x="3720750" y="1354917"/>
                  <a:pt x="3756443" y="1402577"/>
                  <a:pt x="3786187" y="1447258"/>
                </a:cubicBezTo>
                <a:cubicBezTo>
                  <a:pt x="3786187" y="1447258"/>
                  <a:pt x="3786187" y="1447258"/>
                  <a:pt x="3786187" y="1894067"/>
                </a:cubicBezTo>
                <a:cubicBezTo>
                  <a:pt x="3786187" y="1905982"/>
                  <a:pt x="3774290" y="1920875"/>
                  <a:pt x="3759417" y="1920875"/>
                </a:cubicBezTo>
                <a:cubicBezTo>
                  <a:pt x="3759417" y="1920875"/>
                  <a:pt x="3759417" y="1920875"/>
                  <a:pt x="2138362" y="1920875"/>
                </a:cubicBezTo>
                <a:cubicBezTo>
                  <a:pt x="2138362" y="1858322"/>
                  <a:pt x="2147285" y="1795769"/>
                  <a:pt x="2162158" y="1736194"/>
                </a:cubicBezTo>
                <a:cubicBezTo>
                  <a:pt x="2162158" y="1736194"/>
                  <a:pt x="2162158" y="1736194"/>
                  <a:pt x="2370366" y="1736194"/>
                </a:cubicBezTo>
                <a:cubicBezTo>
                  <a:pt x="2370366" y="1736194"/>
                  <a:pt x="2370366" y="1736194"/>
                  <a:pt x="2370366" y="1617045"/>
                </a:cubicBezTo>
                <a:cubicBezTo>
                  <a:pt x="2370366" y="1617045"/>
                  <a:pt x="2370366" y="1617045"/>
                  <a:pt x="2197851" y="1617045"/>
                </a:cubicBezTo>
                <a:cubicBezTo>
                  <a:pt x="2221646" y="1548534"/>
                  <a:pt x="2257339" y="1483002"/>
                  <a:pt x="2298981" y="1420449"/>
                </a:cubicBezTo>
                <a:cubicBezTo>
                  <a:pt x="2298981" y="1420449"/>
                  <a:pt x="2298981" y="1420449"/>
                  <a:pt x="2370366" y="1420449"/>
                </a:cubicBezTo>
                <a:cubicBezTo>
                  <a:pt x="2370366" y="1420449"/>
                  <a:pt x="2370366" y="1420449"/>
                  <a:pt x="2370366" y="1331087"/>
                </a:cubicBezTo>
                <a:cubicBezTo>
                  <a:pt x="2385239" y="1319172"/>
                  <a:pt x="2397136" y="1301300"/>
                  <a:pt x="2414983" y="1289385"/>
                </a:cubicBezTo>
                <a:cubicBezTo>
                  <a:pt x="2498266" y="1208959"/>
                  <a:pt x="2599396" y="1146406"/>
                  <a:pt x="2703501" y="1101725"/>
                </a:cubicBezTo>
                <a:close/>
                <a:moveTo>
                  <a:pt x="288925" y="979487"/>
                </a:moveTo>
                <a:cubicBezTo>
                  <a:pt x="288925" y="979487"/>
                  <a:pt x="288925" y="979487"/>
                  <a:pt x="288925" y="1098550"/>
                </a:cubicBezTo>
                <a:cubicBezTo>
                  <a:pt x="288925" y="1098550"/>
                  <a:pt x="288925" y="1098550"/>
                  <a:pt x="1244600" y="1098550"/>
                </a:cubicBezTo>
                <a:cubicBezTo>
                  <a:pt x="1244600" y="1098550"/>
                  <a:pt x="1244600" y="1098550"/>
                  <a:pt x="1244600" y="979487"/>
                </a:cubicBezTo>
                <a:cubicBezTo>
                  <a:pt x="1244600" y="979487"/>
                  <a:pt x="1244600" y="979487"/>
                  <a:pt x="288925" y="979487"/>
                </a:cubicBezTo>
                <a:close/>
                <a:moveTo>
                  <a:pt x="1417637" y="663575"/>
                </a:moveTo>
                <a:cubicBezTo>
                  <a:pt x="1417637" y="663575"/>
                  <a:pt x="1417637" y="663575"/>
                  <a:pt x="1417637" y="782638"/>
                </a:cubicBezTo>
                <a:cubicBezTo>
                  <a:pt x="1417637" y="782638"/>
                  <a:pt x="1417637" y="782638"/>
                  <a:pt x="2370137" y="782638"/>
                </a:cubicBezTo>
                <a:cubicBezTo>
                  <a:pt x="2370137" y="782638"/>
                  <a:pt x="2370137" y="782638"/>
                  <a:pt x="2370137" y="663575"/>
                </a:cubicBezTo>
                <a:cubicBezTo>
                  <a:pt x="2370137" y="663575"/>
                  <a:pt x="2370137" y="663575"/>
                  <a:pt x="1417637" y="663575"/>
                </a:cubicBezTo>
                <a:close/>
                <a:moveTo>
                  <a:pt x="288925" y="663575"/>
                </a:moveTo>
                <a:cubicBezTo>
                  <a:pt x="288925" y="663575"/>
                  <a:pt x="288925" y="663575"/>
                  <a:pt x="288925" y="782638"/>
                </a:cubicBezTo>
                <a:cubicBezTo>
                  <a:pt x="288925" y="782638"/>
                  <a:pt x="288925" y="782638"/>
                  <a:pt x="1244600" y="782638"/>
                </a:cubicBezTo>
                <a:cubicBezTo>
                  <a:pt x="1244600" y="782638"/>
                  <a:pt x="1244600" y="782638"/>
                  <a:pt x="1244600" y="663575"/>
                </a:cubicBezTo>
                <a:cubicBezTo>
                  <a:pt x="1244600" y="663575"/>
                  <a:pt x="1244600" y="663575"/>
                  <a:pt x="288925" y="663575"/>
                </a:cubicBezTo>
                <a:close/>
                <a:moveTo>
                  <a:pt x="2572947" y="182562"/>
                </a:moveTo>
                <a:cubicBezTo>
                  <a:pt x="2555084" y="182562"/>
                  <a:pt x="2543175" y="194440"/>
                  <a:pt x="2543175" y="209288"/>
                </a:cubicBezTo>
                <a:cubicBezTo>
                  <a:pt x="2543175" y="209288"/>
                  <a:pt x="2543175" y="209288"/>
                  <a:pt x="2543175" y="405279"/>
                </a:cubicBezTo>
                <a:cubicBezTo>
                  <a:pt x="2543175" y="423097"/>
                  <a:pt x="2555084" y="434975"/>
                  <a:pt x="2572947" y="434975"/>
                </a:cubicBezTo>
                <a:cubicBezTo>
                  <a:pt x="2572947" y="434975"/>
                  <a:pt x="2572947" y="434975"/>
                  <a:pt x="3472056" y="434975"/>
                </a:cubicBezTo>
                <a:cubicBezTo>
                  <a:pt x="3483964" y="434975"/>
                  <a:pt x="3498850" y="423097"/>
                  <a:pt x="3498850" y="405279"/>
                </a:cubicBezTo>
                <a:cubicBezTo>
                  <a:pt x="3498850" y="405279"/>
                  <a:pt x="3498850" y="405279"/>
                  <a:pt x="3498850" y="209288"/>
                </a:cubicBezTo>
                <a:cubicBezTo>
                  <a:pt x="3498850" y="194440"/>
                  <a:pt x="3483964" y="182562"/>
                  <a:pt x="3472056" y="182562"/>
                </a:cubicBezTo>
                <a:cubicBezTo>
                  <a:pt x="3472056" y="182562"/>
                  <a:pt x="3472056" y="182562"/>
                  <a:pt x="2572947" y="182562"/>
                </a:cubicBezTo>
                <a:close/>
                <a:moveTo>
                  <a:pt x="1444426" y="182562"/>
                </a:moveTo>
                <a:cubicBezTo>
                  <a:pt x="1429543" y="182562"/>
                  <a:pt x="1417637" y="194440"/>
                  <a:pt x="1417637" y="209288"/>
                </a:cubicBezTo>
                <a:cubicBezTo>
                  <a:pt x="1417637" y="209288"/>
                  <a:pt x="1417637" y="209288"/>
                  <a:pt x="1417637" y="405279"/>
                </a:cubicBezTo>
                <a:cubicBezTo>
                  <a:pt x="1417637" y="423097"/>
                  <a:pt x="1429543" y="434975"/>
                  <a:pt x="1444426" y="434975"/>
                </a:cubicBezTo>
                <a:cubicBezTo>
                  <a:pt x="1444426" y="434975"/>
                  <a:pt x="1444426" y="434975"/>
                  <a:pt x="2343348" y="434975"/>
                </a:cubicBezTo>
                <a:cubicBezTo>
                  <a:pt x="2358231" y="434975"/>
                  <a:pt x="2370137" y="423097"/>
                  <a:pt x="2370137" y="405279"/>
                </a:cubicBezTo>
                <a:cubicBezTo>
                  <a:pt x="2370137" y="405279"/>
                  <a:pt x="2370137" y="405279"/>
                  <a:pt x="2370137" y="209288"/>
                </a:cubicBezTo>
                <a:cubicBezTo>
                  <a:pt x="2370137" y="194440"/>
                  <a:pt x="2358231" y="182562"/>
                  <a:pt x="2343348" y="182562"/>
                </a:cubicBezTo>
                <a:cubicBezTo>
                  <a:pt x="2343348" y="182562"/>
                  <a:pt x="2343348" y="182562"/>
                  <a:pt x="1444426" y="182562"/>
                </a:cubicBezTo>
                <a:close/>
                <a:moveTo>
                  <a:pt x="315720" y="182562"/>
                </a:moveTo>
                <a:cubicBezTo>
                  <a:pt x="303811" y="182562"/>
                  <a:pt x="288925" y="194440"/>
                  <a:pt x="288925" y="209288"/>
                </a:cubicBezTo>
                <a:cubicBezTo>
                  <a:pt x="288925" y="209288"/>
                  <a:pt x="288925" y="209288"/>
                  <a:pt x="288925" y="405279"/>
                </a:cubicBezTo>
                <a:cubicBezTo>
                  <a:pt x="288925" y="423097"/>
                  <a:pt x="303811" y="434975"/>
                  <a:pt x="315720" y="434975"/>
                </a:cubicBezTo>
                <a:cubicBezTo>
                  <a:pt x="315720" y="434975"/>
                  <a:pt x="315720" y="434975"/>
                  <a:pt x="1217806" y="434975"/>
                </a:cubicBezTo>
                <a:cubicBezTo>
                  <a:pt x="1229714" y="434975"/>
                  <a:pt x="1244600" y="423097"/>
                  <a:pt x="1244600" y="405279"/>
                </a:cubicBezTo>
                <a:cubicBezTo>
                  <a:pt x="1244600" y="405279"/>
                  <a:pt x="1244600" y="405279"/>
                  <a:pt x="1244600" y="209288"/>
                </a:cubicBezTo>
                <a:cubicBezTo>
                  <a:pt x="1244600" y="194440"/>
                  <a:pt x="1229714" y="182562"/>
                  <a:pt x="1217806" y="182562"/>
                </a:cubicBezTo>
                <a:cubicBezTo>
                  <a:pt x="1217806" y="182562"/>
                  <a:pt x="1217806" y="182562"/>
                  <a:pt x="315720" y="182562"/>
                </a:cubicBezTo>
                <a:close/>
                <a:moveTo>
                  <a:pt x="26789" y="0"/>
                </a:moveTo>
                <a:cubicBezTo>
                  <a:pt x="26789" y="0"/>
                  <a:pt x="26789" y="0"/>
                  <a:pt x="3759399" y="0"/>
                </a:cubicBezTo>
                <a:cubicBezTo>
                  <a:pt x="3774282" y="0"/>
                  <a:pt x="3786188" y="11912"/>
                  <a:pt x="3786188" y="26803"/>
                </a:cubicBezTo>
                <a:cubicBezTo>
                  <a:pt x="3786188" y="26803"/>
                  <a:pt x="3786188" y="26803"/>
                  <a:pt x="3786188" y="884496"/>
                </a:cubicBezTo>
                <a:cubicBezTo>
                  <a:pt x="3687962" y="813022"/>
                  <a:pt x="3574852" y="759416"/>
                  <a:pt x="3461743" y="717722"/>
                </a:cubicBezTo>
                <a:cubicBezTo>
                  <a:pt x="3461743" y="717722"/>
                  <a:pt x="3461743" y="717722"/>
                  <a:pt x="3461743" y="664117"/>
                </a:cubicBezTo>
                <a:cubicBezTo>
                  <a:pt x="3461743" y="664117"/>
                  <a:pt x="3461743" y="664117"/>
                  <a:pt x="3247430" y="664117"/>
                </a:cubicBezTo>
                <a:cubicBezTo>
                  <a:pt x="3175993" y="649226"/>
                  <a:pt x="3104555" y="646248"/>
                  <a:pt x="3033118" y="646248"/>
                </a:cubicBezTo>
                <a:cubicBezTo>
                  <a:pt x="2961680" y="646248"/>
                  <a:pt x="2890243" y="649226"/>
                  <a:pt x="2821782" y="664117"/>
                </a:cubicBezTo>
                <a:cubicBezTo>
                  <a:pt x="2821782" y="664117"/>
                  <a:pt x="2821782" y="664117"/>
                  <a:pt x="2506266" y="664117"/>
                </a:cubicBezTo>
                <a:cubicBezTo>
                  <a:pt x="2506266" y="664117"/>
                  <a:pt x="2506266" y="664117"/>
                  <a:pt x="2506266" y="756438"/>
                </a:cubicBezTo>
                <a:cubicBezTo>
                  <a:pt x="2381250" y="810044"/>
                  <a:pt x="2265164" y="884496"/>
                  <a:pt x="2163961" y="979795"/>
                </a:cubicBezTo>
                <a:cubicBezTo>
                  <a:pt x="2163961" y="979795"/>
                  <a:pt x="2163961" y="979795"/>
                  <a:pt x="1416844" y="979795"/>
                </a:cubicBezTo>
                <a:cubicBezTo>
                  <a:pt x="1416844" y="979795"/>
                  <a:pt x="1416844" y="979795"/>
                  <a:pt x="1416844" y="1098919"/>
                </a:cubicBezTo>
                <a:cubicBezTo>
                  <a:pt x="1416844" y="1098919"/>
                  <a:pt x="1416844" y="1098919"/>
                  <a:pt x="2047875" y="1098919"/>
                </a:cubicBezTo>
                <a:cubicBezTo>
                  <a:pt x="1994297" y="1161459"/>
                  <a:pt x="1946672" y="1229956"/>
                  <a:pt x="1910954" y="1301430"/>
                </a:cubicBezTo>
                <a:cubicBezTo>
                  <a:pt x="1910954" y="1301430"/>
                  <a:pt x="1910954" y="1301430"/>
                  <a:pt x="1416844" y="1301430"/>
                </a:cubicBezTo>
                <a:cubicBezTo>
                  <a:pt x="1416844" y="1301430"/>
                  <a:pt x="1416844" y="1301430"/>
                  <a:pt x="1416844" y="1420554"/>
                </a:cubicBezTo>
                <a:cubicBezTo>
                  <a:pt x="1416844" y="1420554"/>
                  <a:pt x="1416844" y="1420554"/>
                  <a:pt x="1848446" y="1420554"/>
                </a:cubicBezTo>
                <a:cubicBezTo>
                  <a:pt x="1821657" y="1486072"/>
                  <a:pt x="1800821" y="1548613"/>
                  <a:pt x="1782961" y="1617109"/>
                </a:cubicBezTo>
                <a:cubicBezTo>
                  <a:pt x="1782961" y="1617109"/>
                  <a:pt x="1782961" y="1617109"/>
                  <a:pt x="1416844" y="1617109"/>
                </a:cubicBezTo>
                <a:cubicBezTo>
                  <a:pt x="1416844" y="1617109"/>
                  <a:pt x="1416844" y="1617109"/>
                  <a:pt x="1416844" y="1736233"/>
                </a:cubicBezTo>
                <a:cubicBezTo>
                  <a:pt x="1416844" y="1736233"/>
                  <a:pt x="1416844" y="1736233"/>
                  <a:pt x="1759149" y="1736233"/>
                </a:cubicBezTo>
                <a:cubicBezTo>
                  <a:pt x="1750219" y="1795795"/>
                  <a:pt x="1744266" y="1858335"/>
                  <a:pt x="1744266" y="1920875"/>
                </a:cubicBezTo>
                <a:cubicBezTo>
                  <a:pt x="1744266" y="1920875"/>
                  <a:pt x="1744266" y="1920875"/>
                  <a:pt x="26789" y="1920875"/>
                </a:cubicBezTo>
                <a:cubicBezTo>
                  <a:pt x="11906" y="1920875"/>
                  <a:pt x="0" y="1905985"/>
                  <a:pt x="0" y="1894072"/>
                </a:cubicBezTo>
                <a:cubicBezTo>
                  <a:pt x="0" y="1894072"/>
                  <a:pt x="0" y="1894072"/>
                  <a:pt x="0" y="26803"/>
                </a:cubicBezTo>
                <a:cubicBezTo>
                  <a:pt x="0" y="11912"/>
                  <a:pt x="11906" y="0"/>
                  <a:pt x="2678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82296" tIns="41148" rIns="82296" bIns="4114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400" dirty="0"/>
          </a:p>
        </p:txBody>
      </p:sp>
      <p:sp>
        <p:nvSpPr>
          <p:cNvPr id="69" name="Rectangle 68"/>
          <p:cNvSpPr/>
          <p:nvPr/>
        </p:nvSpPr>
        <p:spPr>
          <a:xfrm>
            <a:off x="1674056" y="2491868"/>
            <a:ext cx="1069987" cy="2482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000" dirty="0">
                <a:solidFill>
                  <a:schemeClr val="tx2"/>
                </a:solidFill>
              </a:rPr>
              <a:t>Лаборатория измерений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0485002" y="2685682"/>
            <a:ext cx="398207" cy="603731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59595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4571981" y="4214911"/>
            <a:ext cx="972000" cy="0"/>
          </a:xfrm>
          <a:prstGeom prst="straightConnector1">
            <a:avLst/>
          </a:prstGeom>
          <a:ln w="8572" cap="rnd" cmpd="sng" algn="ctr">
            <a:solidFill>
              <a:srgbClr val="670F31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/>
          <p:cNvSpPr/>
          <p:nvPr/>
        </p:nvSpPr>
        <p:spPr>
          <a:xfrm>
            <a:off x="7398595" y="3539420"/>
            <a:ext cx="2371028" cy="1029017"/>
          </a:xfrm>
          <a:prstGeom prst="rect">
            <a:avLst/>
          </a:prstGeom>
          <a:noFill/>
          <a:ln w="8572" cap="rnd" cmpd="sng" algn="ctr">
            <a:solidFill>
              <a:srgbClr val="595959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59595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8141603" y="3603286"/>
            <a:ext cx="888358" cy="16927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100" dirty="0">
                <a:solidFill>
                  <a:schemeClr val="tx2"/>
                </a:solidFill>
              </a:rPr>
              <a:t>Ритейл</a:t>
            </a:r>
            <a:endParaRPr lang="en-US" sz="1100" dirty="0" err="1">
              <a:solidFill>
                <a:schemeClr val="tx2"/>
              </a:solidFill>
            </a:endParaRPr>
          </a:p>
        </p:txBody>
      </p:sp>
      <p:cxnSp>
        <p:nvCxnSpPr>
          <p:cNvPr id="78" name="Straight Arrow Connector 77"/>
          <p:cNvCxnSpPr>
            <a:stCxn id="24" idx="3"/>
          </p:cNvCxnSpPr>
          <p:nvPr/>
        </p:nvCxnSpPr>
        <p:spPr>
          <a:xfrm flipV="1">
            <a:off x="6447325" y="4214911"/>
            <a:ext cx="852285" cy="0"/>
          </a:xfrm>
          <a:prstGeom prst="straightConnector1">
            <a:avLst/>
          </a:prstGeom>
          <a:ln w="8572" cap="rnd" cmpd="sng" algn="ctr">
            <a:solidFill>
              <a:srgbClr val="670F31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4579202" y="3823645"/>
            <a:ext cx="2721600" cy="0"/>
          </a:xfrm>
          <a:prstGeom prst="straightConnector1">
            <a:avLst/>
          </a:prstGeom>
          <a:ln w="8572" cap="rnd" cmpd="sng" algn="ctr">
            <a:solidFill>
              <a:srgbClr val="670F31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84"/>
          <p:cNvCxnSpPr>
            <a:stCxn id="14" idx="2"/>
            <a:endCxn id="76" idx="0"/>
          </p:cNvCxnSpPr>
          <p:nvPr/>
        </p:nvCxnSpPr>
        <p:spPr>
          <a:xfrm rot="16200000" flipH="1">
            <a:off x="7099104" y="2054415"/>
            <a:ext cx="281112" cy="2688897"/>
          </a:xfrm>
          <a:prstGeom prst="bentConnector3">
            <a:avLst>
              <a:gd name="adj1" fmla="val 50000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>
            <a:stCxn id="14" idx="2"/>
            <a:endCxn id="28" idx="0"/>
          </p:cNvCxnSpPr>
          <p:nvPr/>
        </p:nvCxnSpPr>
        <p:spPr>
          <a:xfrm rot="5400000">
            <a:off x="4379841" y="2024049"/>
            <a:ext cx="281113" cy="2749630"/>
          </a:xfrm>
          <a:prstGeom prst="bentConnector3">
            <a:avLst>
              <a:gd name="adj1" fmla="val 50000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2560264" y="2987548"/>
            <a:ext cx="2170800" cy="0"/>
          </a:xfrm>
          <a:prstGeom prst="straightConnector1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95"/>
          <p:cNvCxnSpPr>
            <a:stCxn id="28" idx="1"/>
            <a:endCxn id="65" idx="1"/>
          </p:cNvCxnSpPr>
          <p:nvPr/>
        </p:nvCxnSpPr>
        <p:spPr>
          <a:xfrm rot="10800000" flipH="1">
            <a:off x="1797146" y="2984731"/>
            <a:ext cx="11774" cy="1069200"/>
          </a:xfrm>
          <a:prstGeom prst="bentConnector3">
            <a:avLst>
              <a:gd name="adj1" fmla="val -1747439"/>
            </a:avLst>
          </a:prstGeom>
          <a:ln w="8572" cap="rnd" cmpd="sng" algn="ctr">
            <a:solidFill>
              <a:srgbClr val="670F31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/>
          <p:nvPr/>
        </p:nvCxnSpPr>
        <p:spPr>
          <a:xfrm rot="10800000">
            <a:off x="1578248" y="1885009"/>
            <a:ext cx="218898" cy="2340000"/>
          </a:xfrm>
          <a:prstGeom prst="bentConnector3">
            <a:avLst>
              <a:gd name="adj1" fmla="val 204432"/>
            </a:avLst>
          </a:prstGeom>
          <a:ln w="8572" cap="rnd" cmpd="sng" algn="ctr">
            <a:solidFill>
              <a:srgbClr val="670F31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/>
          <p:nvPr/>
        </p:nvCxnSpPr>
        <p:spPr>
          <a:xfrm rot="16200000" flipH="1">
            <a:off x="4821656" y="2546113"/>
            <a:ext cx="341350" cy="0"/>
          </a:xfrm>
          <a:prstGeom prst="bentConnector3">
            <a:avLst>
              <a:gd name="adj1" fmla="val 50000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rot="5400000">
            <a:off x="8376328" y="4864770"/>
            <a:ext cx="518400" cy="0"/>
          </a:xfrm>
          <a:prstGeom prst="straightConnector1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Elbow Connector 112"/>
          <p:cNvCxnSpPr/>
          <p:nvPr/>
        </p:nvCxnSpPr>
        <p:spPr>
          <a:xfrm rot="16200000" flipH="1">
            <a:off x="5559382" y="2158672"/>
            <a:ext cx="550800" cy="5378399"/>
          </a:xfrm>
          <a:prstGeom prst="bentConnector3">
            <a:avLst>
              <a:gd name="adj1" fmla="val 57864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/>
          <p:cNvCxnSpPr/>
          <p:nvPr/>
        </p:nvCxnSpPr>
        <p:spPr>
          <a:xfrm rot="16200000" flipH="1">
            <a:off x="4743194" y="3170066"/>
            <a:ext cx="540457" cy="3337200"/>
          </a:xfrm>
          <a:prstGeom prst="bentConnector3">
            <a:avLst>
              <a:gd name="adj1" fmla="val 26501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/>
          <p:nvPr/>
        </p:nvCxnSpPr>
        <p:spPr>
          <a:xfrm rot="5400000">
            <a:off x="2209456" y="4812634"/>
            <a:ext cx="583200" cy="0"/>
          </a:xfrm>
          <a:prstGeom prst="straightConnector1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" name="Picture 1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97882" y="1686556"/>
            <a:ext cx="643224" cy="481796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29276" y="1686556"/>
            <a:ext cx="438742" cy="481796"/>
          </a:xfrm>
          <a:prstGeom prst="rect">
            <a:avLst/>
          </a:prstGeom>
        </p:spPr>
      </p:pic>
      <p:sp>
        <p:nvSpPr>
          <p:cNvPr id="125" name="Rectangle 124"/>
          <p:cNvSpPr/>
          <p:nvPr/>
        </p:nvSpPr>
        <p:spPr>
          <a:xfrm>
            <a:off x="3135648" y="2178550"/>
            <a:ext cx="1464556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 err="1">
                <a:solidFill>
                  <a:schemeClr val="tx2"/>
                </a:solidFill>
              </a:rPr>
              <a:t>Россельхознадзор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4539741" y="2169114"/>
            <a:ext cx="1656344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 err="1">
                <a:solidFill>
                  <a:schemeClr val="tx2"/>
                </a:solidFill>
              </a:rPr>
              <a:t>Роспотребнадзор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604948" y="1686556"/>
            <a:ext cx="425350" cy="481796"/>
          </a:xfrm>
          <a:prstGeom prst="rect">
            <a:avLst/>
          </a:prstGeom>
        </p:spPr>
      </p:pic>
      <p:sp>
        <p:nvSpPr>
          <p:cNvPr id="128" name="Rectangle 127"/>
          <p:cNvSpPr/>
          <p:nvPr/>
        </p:nvSpPr>
        <p:spPr>
          <a:xfrm>
            <a:off x="6006807" y="2175658"/>
            <a:ext cx="1656344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Росздравнадзор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2411048" y="1448950"/>
            <a:ext cx="4317422" cy="200055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300" dirty="0">
                <a:solidFill>
                  <a:schemeClr val="tx2"/>
                </a:solidFill>
              </a:rPr>
              <a:t>Разрешительные, контрольные, надзорные органы</a:t>
            </a:r>
            <a:endParaRPr lang="en-US" sz="1300" dirty="0" err="1">
              <a:solidFill>
                <a:schemeClr val="tx2"/>
              </a:solidFill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1578248" y="1409349"/>
            <a:ext cx="6057554" cy="966089"/>
          </a:xfrm>
          <a:prstGeom prst="rect">
            <a:avLst/>
          </a:prstGeom>
          <a:noFill/>
          <a:ln w="8572" cap="rnd" cmpd="sng" algn="ctr">
            <a:solidFill>
              <a:srgbClr val="595959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59595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cxnSp>
        <p:nvCxnSpPr>
          <p:cNvPr id="131" name="Elbow Connector 130"/>
          <p:cNvCxnSpPr/>
          <p:nvPr/>
        </p:nvCxnSpPr>
        <p:spPr>
          <a:xfrm rot="10800000">
            <a:off x="7642824" y="1593992"/>
            <a:ext cx="2814016" cy="1129047"/>
          </a:xfrm>
          <a:prstGeom prst="bentConnector3">
            <a:avLst>
              <a:gd name="adj1" fmla="val -547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Elbow Connector 139"/>
          <p:cNvCxnSpPr/>
          <p:nvPr/>
        </p:nvCxnSpPr>
        <p:spPr>
          <a:xfrm rot="16200000" flipH="1">
            <a:off x="3419589" y="4109813"/>
            <a:ext cx="648000" cy="1587600"/>
          </a:xfrm>
          <a:prstGeom prst="bentConnector2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/>
          <p:nvPr/>
        </p:nvCxnSpPr>
        <p:spPr>
          <a:xfrm rot="5400000">
            <a:off x="7311393" y="3931466"/>
            <a:ext cx="540458" cy="1814400"/>
          </a:xfrm>
          <a:prstGeom prst="bentConnector3">
            <a:avLst>
              <a:gd name="adj1" fmla="val 26502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149"/>
          <p:cNvSpPr/>
          <p:nvPr/>
        </p:nvSpPr>
        <p:spPr>
          <a:xfrm>
            <a:off x="2813264" y="2832532"/>
            <a:ext cx="1656344" cy="15388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данные о товарах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cxnSp>
        <p:nvCxnSpPr>
          <p:cNvPr id="153" name="Elbow Connector 152"/>
          <p:cNvCxnSpPr>
            <a:endCxn id="35" idx="0"/>
          </p:cNvCxnSpPr>
          <p:nvPr/>
        </p:nvCxnSpPr>
        <p:spPr>
          <a:xfrm rot="16200000" flipH="1">
            <a:off x="5911543" y="4337320"/>
            <a:ext cx="776179" cy="766967"/>
          </a:xfrm>
          <a:prstGeom prst="bentConnector3">
            <a:avLst>
              <a:gd name="adj1" fmla="val 50000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Elbow Connector 164"/>
          <p:cNvCxnSpPr/>
          <p:nvPr/>
        </p:nvCxnSpPr>
        <p:spPr>
          <a:xfrm rot="10800000">
            <a:off x="1578248" y="1961423"/>
            <a:ext cx="218898" cy="2192793"/>
          </a:xfrm>
          <a:prstGeom prst="bentConnector3">
            <a:avLst>
              <a:gd name="adj1" fmla="val 166702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10624576" y="4720338"/>
            <a:ext cx="1111505" cy="400463"/>
            <a:chOff x="10286359" y="4720338"/>
            <a:chExt cx="1111505" cy="400463"/>
          </a:xfrm>
        </p:grpSpPr>
        <p:cxnSp>
          <p:nvCxnSpPr>
            <p:cNvPr id="178" name="Straight Connector 177"/>
            <p:cNvCxnSpPr/>
            <p:nvPr/>
          </p:nvCxnSpPr>
          <p:spPr>
            <a:xfrm>
              <a:off x="10286359" y="5058477"/>
              <a:ext cx="288036" cy="0"/>
            </a:xfrm>
            <a:prstGeom prst="line">
              <a:avLst/>
            </a:prstGeom>
            <a:ln w="34290" cap="rnd" cmpd="sng" algn="ctr">
              <a:solidFill>
                <a:srgbClr val="670F3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TextBox 178"/>
            <p:cNvSpPr txBox="1"/>
            <p:nvPr/>
          </p:nvSpPr>
          <p:spPr>
            <a:xfrm>
              <a:off x="10697432" y="4996152"/>
              <a:ext cx="395301" cy="124649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ru-RU" sz="900" dirty="0">
                  <a:solidFill>
                    <a:schemeClr val="tx1"/>
                  </a:solidFill>
                </a:rPr>
                <a:t>Товары</a:t>
              </a:r>
              <a:endParaRPr lang="en-US" sz="9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6" name="Straight Connector 175"/>
            <p:cNvCxnSpPr/>
            <p:nvPr/>
          </p:nvCxnSpPr>
          <p:spPr>
            <a:xfrm>
              <a:off x="10286359" y="4782663"/>
              <a:ext cx="288036" cy="0"/>
            </a:xfrm>
            <a:prstGeom prst="line">
              <a:avLst/>
            </a:prstGeom>
            <a:ln w="3429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7" name="TextBox 176"/>
            <p:cNvSpPr txBox="1"/>
            <p:nvPr/>
          </p:nvSpPr>
          <p:spPr>
            <a:xfrm>
              <a:off x="10712580" y="4720338"/>
              <a:ext cx="685284" cy="124649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ru-RU" sz="900" dirty="0">
                  <a:solidFill>
                    <a:schemeClr val="tx1"/>
                  </a:solidFill>
                </a:rPr>
                <a:t>Информация</a:t>
              </a:r>
              <a:endParaRPr lang="en-US" sz="90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80" name="Straight Arrow Connector 179"/>
          <p:cNvCxnSpPr/>
          <p:nvPr/>
        </p:nvCxnSpPr>
        <p:spPr>
          <a:xfrm>
            <a:off x="4579202" y="3752899"/>
            <a:ext cx="2721600" cy="0"/>
          </a:xfrm>
          <a:prstGeom prst="straightConnector1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Arrow Connector 180"/>
          <p:cNvCxnSpPr/>
          <p:nvPr/>
        </p:nvCxnSpPr>
        <p:spPr>
          <a:xfrm>
            <a:off x="4571980" y="4147847"/>
            <a:ext cx="972000" cy="0"/>
          </a:xfrm>
          <a:prstGeom prst="straightConnector1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/>
          <p:cNvCxnSpPr/>
          <p:nvPr/>
        </p:nvCxnSpPr>
        <p:spPr>
          <a:xfrm flipV="1">
            <a:off x="6447324" y="4147847"/>
            <a:ext cx="852285" cy="0"/>
          </a:xfrm>
          <a:prstGeom prst="straightConnector1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Elbow Connector 184"/>
          <p:cNvCxnSpPr/>
          <p:nvPr/>
        </p:nvCxnSpPr>
        <p:spPr>
          <a:xfrm rot="5400000" flipH="1">
            <a:off x="4958816" y="2546113"/>
            <a:ext cx="341350" cy="0"/>
          </a:xfrm>
          <a:prstGeom prst="bentConnector3">
            <a:avLst>
              <a:gd name="adj1" fmla="val 50000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ounded Rectangle 185"/>
          <p:cNvSpPr/>
          <p:nvPr/>
        </p:nvSpPr>
        <p:spPr>
          <a:xfrm>
            <a:off x="9209877" y="1734122"/>
            <a:ext cx="1001323" cy="648000"/>
          </a:xfrm>
          <a:prstGeom prst="roundRect">
            <a:avLst/>
          </a:prstGeom>
          <a:solidFill>
            <a:schemeClr val="bg1"/>
          </a:solidFill>
          <a:ln w="8572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 err="1">
                <a:solidFill>
                  <a:srgbClr val="595959"/>
                </a:solidFill>
              </a:rPr>
              <a:t>ОКПД</a:t>
            </a:r>
            <a:r>
              <a:rPr lang="ru-RU" sz="1200" b="1" dirty="0">
                <a:solidFill>
                  <a:srgbClr val="595959"/>
                </a:solidFill>
              </a:rPr>
              <a:t> 2</a:t>
            </a:r>
          </a:p>
          <a:p>
            <a:pPr algn="ctr"/>
            <a:r>
              <a:rPr lang="ru-RU" sz="1200" b="1" dirty="0" err="1">
                <a:solidFill>
                  <a:srgbClr val="595959"/>
                </a:solidFill>
              </a:rPr>
              <a:t>КТРУ</a:t>
            </a:r>
            <a:endParaRPr lang="en-US" sz="1200" b="1" dirty="0">
              <a:solidFill>
                <a:srgbClr val="595959"/>
              </a:solidFill>
            </a:endParaRPr>
          </a:p>
          <a:p>
            <a:pPr algn="ctr"/>
            <a:r>
              <a:rPr lang="ru-RU" sz="1200" b="1" dirty="0" err="1">
                <a:solidFill>
                  <a:srgbClr val="595959"/>
                </a:solidFill>
              </a:rPr>
              <a:t>ТН</a:t>
            </a:r>
            <a:r>
              <a:rPr lang="ru-RU" sz="1200" b="1" dirty="0">
                <a:solidFill>
                  <a:srgbClr val="595959"/>
                </a:solidFill>
              </a:rPr>
              <a:t> </a:t>
            </a:r>
            <a:r>
              <a:rPr lang="ru-RU" sz="1200" b="1" dirty="0" err="1">
                <a:solidFill>
                  <a:srgbClr val="595959"/>
                </a:solidFill>
              </a:rPr>
              <a:t>ВЭД</a:t>
            </a:r>
            <a:endParaRPr lang="en-US" sz="1200" b="1" dirty="0">
              <a:solidFill>
                <a:srgbClr val="595959"/>
              </a:solidFill>
            </a:endParaRPr>
          </a:p>
        </p:txBody>
      </p:sp>
      <p:cxnSp>
        <p:nvCxnSpPr>
          <p:cNvPr id="187" name="Elbow Connector 186"/>
          <p:cNvCxnSpPr>
            <a:stCxn id="191" idx="7"/>
            <a:endCxn id="186" idx="2"/>
          </p:cNvCxnSpPr>
          <p:nvPr/>
        </p:nvCxnSpPr>
        <p:spPr>
          <a:xfrm rot="5400000" flipH="1" flipV="1">
            <a:off x="8010121" y="1021728"/>
            <a:ext cx="340024" cy="3060812"/>
          </a:xfrm>
          <a:prstGeom prst="bentConnector3">
            <a:avLst>
              <a:gd name="adj1" fmla="val 32072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/>
          <p:cNvSpPr txBox="1"/>
          <p:nvPr/>
        </p:nvSpPr>
        <p:spPr>
          <a:xfrm>
            <a:off x="3101304" y="6256856"/>
            <a:ext cx="5990741" cy="474154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39750"/>
            <a:r>
              <a:rPr lang="ru-RU" sz="1200" dirty="0">
                <a:solidFill>
                  <a:srgbClr val="595959"/>
                </a:solidFill>
              </a:rPr>
              <a:t>Все информационные потоки о товарах между участниками экосистемы будут основаны на данных из Национального каталога  </a:t>
            </a:r>
            <a:endParaRPr lang="en-US" sz="1200" dirty="0" err="1">
              <a:solidFill>
                <a:srgbClr val="595959"/>
              </a:solidFill>
            </a:endParaRPr>
          </a:p>
        </p:txBody>
      </p:sp>
      <p:sp>
        <p:nvSpPr>
          <p:cNvPr id="198" name="Oval 16"/>
          <p:cNvSpPr>
            <a:spLocks noChangeArrowheads="1"/>
          </p:cNvSpPr>
          <p:nvPr/>
        </p:nvSpPr>
        <p:spPr bwMode="auto">
          <a:xfrm>
            <a:off x="3168679" y="6309787"/>
            <a:ext cx="368292" cy="368292"/>
          </a:xfrm>
          <a:prstGeom prst="ellipse">
            <a:avLst/>
          </a:prstGeom>
          <a:solidFill>
            <a:srgbClr val="EBE60E">
              <a:lumMod val="100000"/>
            </a:srgbClr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9" name="Freeform 17"/>
          <p:cNvSpPr>
            <a:spLocks/>
          </p:cNvSpPr>
          <p:nvPr/>
        </p:nvSpPr>
        <p:spPr bwMode="auto">
          <a:xfrm>
            <a:off x="3261836" y="6405110"/>
            <a:ext cx="181980" cy="175480"/>
          </a:xfrm>
          <a:custGeom>
            <a:avLst/>
            <a:gdLst>
              <a:gd name="T0" fmla="*/ 36 w 84"/>
              <a:gd name="T1" fmla="*/ 67 h 81"/>
              <a:gd name="T2" fmla="*/ 7 w 84"/>
              <a:gd name="T3" fmla="*/ 39 h 81"/>
              <a:gd name="T4" fmla="*/ 0 w 84"/>
              <a:gd name="T5" fmla="*/ 45 h 81"/>
              <a:gd name="T6" fmla="*/ 38 w 84"/>
              <a:gd name="T7" fmla="*/ 81 h 81"/>
              <a:gd name="T8" fmla="*/ 84 w 84"/>
              <a:gd name="T9" fmla="*/ 4 h 81"/>
              <a:gd name="T10" fmla="*/ 76 w 84"/>
              <a:gd name="T11" fmla="*/ 0 h 81"/>
              <a:gd name="T12" fmla="*/ 36 w 84"/>
              <a:gd name="T13" fmla="*/ 67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4" h="81">
                <a:moveTo>
                  <a:pt x="36" y="67"/>
                </a:moveTo>
                <a:lnTo>
                  <a:pt x="7" y="39"/>
                </a:lnTo>
                <a:lnTo>
                  <a:pt x="0" y="45"/>
                </a:lnTo>
                <a:lnTo>
                  <a:pt x="38" y="81"/>
                </a:lnTo>
                <a:lnTo>
                  <a:pt x="84" y="4"/>
                </a:lnTo>
                <a:lnTo>
                  <a:pt x="76" y="0"/>
                </a:lnTo>
                <a:lnTo>
                  <a:pt x="36" y="67"/>
                </a:lnTo>
                <a:close/>
              </a:path>
            </a:pathLst>
          </a:custGeom>
          <a:solidFill>
            <a:srgbClr val="670F31"/>
          </a:solidFill>
          <a:ln>
            <a:noFill/>
          </a:ln>
          <a:extLst/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918792" y="1617510"/>
            <a:ext cx="688151" cy="764612"/>
          </a:xfrm>
          <a:prstGeom prst="rect">
            <a:avLst/>
          </a:prstGeom>
        </p:spPr>
      </p:pic>
      <p:sp>
        <p:nvSpPr>
          <p:cNvPr id="110" name="Rectangle 109"/>
          <p:cNvSpPr/>
          <p:nvPr/>
        </p:nvSpPr>
        <p:spPr>
          <a:xfrm>
            <a:off x="10789654" y="2404727"/>
            <a:ext cx="946427" cy="30777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</a:rPr>
              <a:t>Федеральное казначейство</a:t>
            </a:r>
            <a:endParaRPr lang="en-US" sz="1000" dirty="0" err="1">
              <a:solidFill>
                <a:schemeClr val="tx2"/>
              </a:solidFill>
            </a:endParaRPr>
          </a:p>
        </p:txBody>
      </p:sp>
      <p:cxnSp>
        <p:nvCxnSpPr>
          <p:cNvPr id="111" name="Straight Arrow Connector 110"/>
          <p:cNvCxnSpPr/>
          <p:nvPr/>
        </p:nvCxnSpPr>
        <p:spPr>
          <a:xfrm>
            <a:off x="10211016" y="2046840"/>
            <a:ext cx="637104" cy="0"/>
          </a:xfrm>
          <a:prstGeom prst="straightConnector1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69857" y="1688172"/>
            <a:ext cx="764612" cy="764612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71188" y="1829626"/>
            <a:ext cx="546352" cy="481705"/>
          </a:xfrm>
          <a:prstGeom prst="rect">
            <a:avLst/>
          </a:prstGeom>
        </p:spPr>
      </p:pic>
      <p:sp>
        <p:nvSpPr>
          <p:cNvPr id="118" name="Rectangle 117"/>
          <p:cNvSpPr/>
          <p:nvPr/>
        </p:nvSpPr>
        <p:spPr>
          <a:xfrm>
            <a:off x="7824078" y="1731707"/>
            <a:ext cx="1246522" cy="648000"/>
          </a:xfrm>
          <a:prstGeom prst="rect">
            <a:avLst/>
          </a:prstGeom>
          <a:noFill/>
          <a:ln w="8572" cap="rnd" cmpd="sng" algn="ctr">
            <a:solidFill>
              <a:srgbClr val="595959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59595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cxnSp>
        <p:nvCxnSpPr>
          <p:cNvPr id="132" name="Elbow Connector 131"/>
          <p:cNvCxnSpPr>
            <a:stCxn id="14" idx="0"/>
            <a:endCxn id="118" idx="2"/>
          </p:cNvCxnSpPr>
          <p:nvPr/>
        </p:nvCxnSpPr>
        <p:spPr>
          <a:xfrm rot="5400000" flipH="1" flipV="1">
            <a:off x="7002735" y="1272185"/>
            <a:ext cx="337081" cy="2552127"/>
          </a:xfrm>
          <a:prstGeom prst="bentConnector3">
            <a:avLst>
              <a:gd name="adj1" fmla="val 50000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AutoShape 3">
            <a:extLst>
              <a:ext uri="{FF2B5EF4-FFF2-40B4-BE49-F238E27FC236}">
                <a16:creationId xmlns:a16="http://schemas.microsoft.com/office/drawing/2014/main" id="{0AA60300-323B-455E-8BDD-AED89CD32EF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684105" y="3725295"/>
            <a:ext cx="822198" cy="822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7" name="Freeform 5">
            <a:extLst>
              <a:ext uri="{FF2B5EF4-FFF2-40B4-BE49-F238E27FC236}">
                <a16:creationId xmlns:a16="http://schemas.microsoft.com/office/drawing/2014/main" id="{0E3640C2-DC58-4015-B6AA-1D4E181BF0B7}"/>
              </a:ext>
            </a:extLst>
          </p:cNvPr>
          <p:cNvSpPr>
            <a:spLocks noEditPoints="1"/>
          </p:cNvSpPr>
          <p:nvPr/>
        </p:nvSpPr>
        <p:spPr bwMode="auto">
          <a:xfrm>
            <a:off x="10872510" y="3846834"/>
            <a:ext cx="578549" cy="563118"/>
          </a:xfrm>
          <a:custGeom>
            <a:avLst/>
            <a:gdLst>
              <a:gd name="T0" fmla="*/ 800 w 1621"/>
              <a:gd name="T1" fmla="*/ 558 h 1577"/>
              <a:gd name="T2" fmla="*/ 800 w 1621"/>
              <a:gd name="T3" fmla="*/ 558 h 1577"/>
              <a:gd name="T4" fmla="*/ 754 w 1621"/>
              <a:gd name="T5" fmla="*/ 623 h 1577"/>
              <a:gd name="T6" fmla="*/ 724 w 1621"/>
              <a:gd name="T7" fmla="*/ 623 h 1577"/>
              <a:gd name="T8" fmla="*/ 720 w 1621"/>
              <a:gd name="T9" fmla="*/ 316 h 1577"/>
              <a:gd name="T10" fmla="*/ 185 w 1621"/>
              <a:gd name="T11" fmla="*/ 335 h 1577"/>
              <a:gd name="T12" fmla="*/ 85 w 1621"/>
              <a:gd name="T13" fmla="*/ 617 h 1577"/>
              <a:gd name="T14" fmla="*/ 58 w 1621"/>
              <a:gd name="T15" fmla="*/ 615 h 1577"/>
              <a:gd name="T16" fmla="*/ 17 w 1621"/>
              <a:gd name="T17" fmla="*/ 563 h 1577"/>
              <a:gd name="T18" fmla="*/ 17 w 1621"/>
              <a:gd name="T19" fmla="*/ 563 h 1577"/>
              <a:gd name="T20" fmla="*/ 1 w 1621"/>
              <a:gd name="T21" fmla="*/ 417 h 1577"/>
              <a:gd name="T22" fmla="*/ 408 w 1621"/>
              <a:gd name="T23" fmla="*/ 0 h 1577"/>
              <a:gd name="T24" fmla="*/ 815 w 1621"/>
              <a:gd name="T25" fmla="*/ 417 h 1577"/>
              <a:gd name="T26" fmla="*/ 800 w 1621"/>
              <a:gd name="T27" fmla="*/ 558 h 1577"/>
              <a:gd name="T28" fmla="*/ 1621 w 1621"/>
              <a:gd name="T29" fmla="*/ 1563 h 1577"/>
              <a:gd name="T30" fmla="*/ 1595 w 1621"/>
              <a:gd name="T31" fmla="*/ 742 h 1577"/>
              <a:gd name="T32" fmla="*/ 1581 w 1621"/>
              <a:gd name="T33" fmla="*/ 727 h 1577"/>
              <a:gd name="T34" fmla="*/ 970 w 1621"/>
              <a:gd name="T35" fmla="*/ 727 h 1577"/>
              <a:gd name="T36" fmla="*/ 955 w 1621"/>
              <a:gd name="T37" fmla="*/ 742 h 1577"/>
              <a:gd name="T38" fmla="*/ 929 w 1621"/>
              <a:gd name="T39" fmla="*/ 1563 h 1577"/>
              <a:gd name="T40" fmla="*/ 944 w 1621"/>
              <a:gd name="T41" fmla="*/ 1577 h 1577"/>
              <a:gd name="T42" fmla="*/ 1607 w 1621"/>
              <a:gd name="T43" fmla="*/ 1577 h 1577"/>
              <a:gd name="T44" fmla="*/ 1621 w 1621"/>
              <a:gd name="T45" fmla="*/ 1563 h 1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621" h="1577">
                <a:moveTo>
                  <a:pt x="800" y="558"/>
                </a:moveTo>
                <a:cubicBezTo>
                  <a:pt x="800" y="558"/>
                  <a:pt x="800" y="558"/>
                  <a:pt x="800" y="558"/>
                </a:cubicBezTo>
                <a:cubicBezTo>
                  <a:pt x="799" y="558"/>
                  <a:pt x="792" y="579"/>
                  <a:pt x="754" y="623"/>
                </a:cubicBezTo>
                <a:cubicBezTo>
                  <a:pt x="754" y="623"/>
                  <a:pt x="754" y="623"/>
                  <a:pt x="724" y="623"/>
                </a:cubicBezTo>
                <a:cubicBezTo>
                  <a:pt x="724" y="623"/>
                  <a:pt x="724" y="608"/>
                  <a:pt x="720" y="316"/>
                </a:cubicBezTo>
                <a:cubicBezTo>
                  <a:pt x="674" y="550"/>
                  <a:pt x="185" y="335"/>
                  <a:pt x="185" y="335"/>
                </a:cubicBezTo>
                <a:cubicBezTo>
                  <a:pt x="63" y="372"/>
                  <a:pt x="85" y="617"/>
                  <a:pt x="85" y="617"/>
                </a:cubicBezTo>
                <a:cubicBezTo>
                  <a:pt x="85" y="617"/>
                  <a:pt x="85" y="617"/>
                  <a:pt x="58" y="615"/>
                </a:cubicBezTo>
                <a:cubicBezTo>
                  <a:pt x="58" y="615"/>
                  <a:pt x="58" y="600"/>
                  <a:pt x="17" y="563"/>
                </a:cubicBezTo>
                <a:cubicBezTo>
                  <a:pt x="17" y="563"/>
                  <a:pt x="17" y="563"/>
                  <a:pt x="17" y="563"/>
                </a:cubicBezTo>
                <a:cubicBezTo>
                  <a:pt x="0" y="517"/>
                  <a:pt x="1" y="468"/>
                  <a:pt x="1" y="417"/>
                </a:cubicBezTo>
                <a:cubicBezTo>
                  <a:pt x="1" y="187"/>
                  <a:pt x="178" y="0"/>
                  <a:pt x="408" y="0"/>
                </a:cubicBezTo>
                <a:cubicBezTo>
                  <a:pt x="638" y="0"/>
                  <a:pt x="815" y="187"/>
                  <a:pt x="815" y="417"/>
                </a:cubicBezTo>
                <a:cubicBezTo>
                  <a:pt x="815" y="467"/>
                  <a:pt x="816" y="514"/>
                  <a:pt x="800" y="558"/>
                </a:cubicBezTo>
                <a:close/>
                <a:moveTo>
                  <a:pt x="1621" y="1563"/>
                </a:moveTo>
                <a:cubicBezTo>
                  <a:pt x="1595" y="742"/>
                  <a:pt x="1595" y="742"/>
                  <a:pt x="1595" y="742"/>
                </a:cubicBezTo>
                <a:cubicBezTo>
                  <a:pt x="1595" y="734"/>
                  <a:pt x="1589" y="727"/>
                  <a:pt x="1581" y="727"/>
                </a:cubicBezTo>
                <a:cubicBezTo>
                  <a:pt x="970" y="727"/>
                  <a:pt x="970" y="727"/>
                  <a:pt x="970" y="727"/>
                </a:cubicBezTo>
                <a:cubicBezTo>
                  <a:pt x="962" y="727"/>
                  <a:pt x="955" y="734"/>
                  <a:pt x="955" y="742"/>
                </a:cubicBezTo>
                <a:cubicBezTo>
                  <a:pt x="929" y="1563"/>
                  <a:pt x="929" y="1563"/>
                  <a:pt x="929" y="1563"/>
                </a:cubicBezTo>
                <a:cubicBezTo>
                  <a:pt x="929" y="1571"/>
                  <a:pt x="936" y="1577"/>
                  <a:pt x="944" y="1577"/>
                </a:cubicBezTo>
                <a:cubicBezTo>
                  <a:pt x="1607" y="1577"/>
                  <a:pt x="1607" y="1577"/>
                  <a:pt x="1607" y="1577"/>
                </a:cubicBezTo>
                <a:cubicBezTo>
                  <a:pt x="1615" y="1577"/>
                  <a:pt x="1621" y="1571"/>
                  <a:pt x="1621" y="1563"/>
                </a:cubicBezTo>
                <a:close/>
              </a:path>
            </a:pathLst>
          </a:custGeom>
          <a:solidFill>
            <a:srgbClr val="595959">
              <a:lumMod val="10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8" name="Freeform 6">
            <a:extLst>
              <a:ext uri="{FF2B5EF4-FFF2-40B4-BE49-F238E27FC236}">
                <a16:creationId xmlns:a16="http://schemas.microsoft.com/office/drawing/2014/main" id="{59947440-8206-482E-9173-849AAFCAE283}"/>
              </a:ext>
            </a:extLst>
          </p:cNvPr>
          <p:cNvSpPr>
            <a:spLocks noEditPoints="1"/>
          </p:cNvSpPr>
          <p:nvPr/>
        </p:nvSpPr>
        <p:spPr bwMode="auto">
          <a:xfrm>
            <a:off x="10740112" y="4020380"/>
            <a:ext cx="660845" cy="344234"/>
          </a:xfrm>
          <a:custGeom>
            <a:avLst/>
            <a:gdLst>
              <a:gd name="T0" fmla="*/ 415 w 1852"/>
              <a:gd name="T1" fmla="*/ 158 h 964"/>
              <a:gd name="T2" fmla="*/ 452 w 1852"/>
              <a:gd name="T3" fmla="*/ 199 h 964"/>
              <a:gd name="T4" fmla="*/ 463 w 1852"/>
              <a:gd name="T5" fmla="*/ 211 h 964"/>
              <a:gd name="T6" fmla="*/ 586 w 1852"/>
              <a:gd name="T7" fmla="*/ 470 h 964"/>
              <a:gd name="T8" fmla="*/ 779 w 1852"/>
              <a:gd name="T9" fmla="*/ 567 h 964"/>
              <a:gd name="T10" fmla="*/ 972 w 1852"/>
              <a:gd name="T11" fmla="*/ 470 h 964"/>
              <a:gd name="T12" fmla="*/ 1095 w 1852"/>
              <a:gd name="T13" fmla="*/ 211 h 964"/>
              <a:gd name="T14" fmla="*/ 1105 w 1852"/>
              <a:gd name="T15" fmla="*/ 199 h 964"/>
              <a:gd name="T16" fmla="*/ 1142 w 1852"/>
              <a:gd name="T17" fmla="*/ 158 h 964"/>
              <a:gd name="T18" fmla="*/ 1194 w 1852"/>
              <a:gd name="T19" fmla="*/ 134 h 964"/>
              <a:gd name="T20" fmla="*/ 1193 w 1852"/>
              <a:gd name="T21" fmla="*/ 138 h 964"/>
              <a:gd name="T22" fmla="*/ 1133 w 1852"/>
              <a:gd name="T23" fmla="*/ 234 h 964"/>
              <a:gd name="T24" fmla="*/ 1010 w 1852"/>
              <a:gd name="T25" fmla="*/ 493 h 964"/>
              <a:gd name="T26" fmla="*/ 1010 w 1852"/>
              <a:gd name="T27" fmla="*/ 563 h 964"/>
              <a:gd name="T28" fmla="*/ 1009 w 1852"/>
              <a:gd name="T29" fmla="*/ 563 h 964"/>
              <a:gd name="T30" fmla="*/ 995 w 1852"/>
              <a:gd name="T31" fmla="*/ 582 h 964"/>
              <a:gd name="T32" fmla="*/ 966 w 1852"/>
              <a:gd name="T33" fmla="*/ 613 h 964"/>
              <a:gd name="T34" fmla="*/ 966 w 1852"/>
              <a:gd name="T35" fmla="*/ 530 h 964"/>
              <a:gd name="T36" fmla="*/ 779 w 1852"/>
              <a:gd name="T37" fmla="*/ 611 h 964"/>
              <a:gd name="T38" fmla="*/ 592 w 1852"/>
              <a:gd name="T39" fmla="*/ 530 h 964"/>
              <a:gd name="T40" fmla="*/ 592 w 1852"/>
              <a:gd name="T41" fmla="*/ 613 h 964"/>
              <a:gd name="T42" fmla="*/ 563 w 1852"/>
              <a:gd name="T43" fmla="*/ 582 h 964"/>
              <a:gd name="T44" fmla="*/ 549 w 1852"/>
              <a:gd name="T45" fmla="*/ 563 h 964"/>
              <a:gd name="T46" fmla="*/ 548 w 1852"/>
              <a:gd name="T47" fmla="*/ 563 h 964"/>
              <a:gd name="T48" fmla="*/ 548 w 1852"/>
              <a:gd name="T49" fmla="*/ 494 h 964"/>
              <a:gd name="T50" fmla="*/ 425 w 1852"/>
              <a:gd name="T51" fmla="*/ 234 h 964"/>
              <a:gd name="T52" fmla="*/ 365 w 1852"/>
              <a:gd name="T53" fmla="*/ 140 h 964"/>
              <a:gd name="T54" fmla="*/ 365 w 1852"/>
              <a:gd name="T55" fmla="*/ 134 h 964"/>
              <a:gd name="T56" fmla="*/ 415 w 1852"/>
              <a:gd name="T57" fmla="*/ 158 h 964"/>
              <a:gd name="T58" fmla="*/ 1270 w 1852"/>
              <a:gd name="T59" fmla="*/ 634 h 964"/>
              <a:gd name="T60" fmla="*/ 1031 w 1852"/>
              <a:gd name="T61" fmla="*/ 607 h 964"/>
              <a:gd name="T62" fmla="*/ 779 w 1852"/>
              <a:gd name="T63" fmla="*/ 728 h 964"/>
              <a:gd name="T64" fmla="*/ 527 w 1852"/>
              <a:gd name="T65" fmla="*/ 607 h 964"/>
              <a:gd name="T66" fmla="*/ 192 w 1852"/>
              <a:gd name="T67" fmla="*/ 664 h 964"/>
              <a:gd name="T68" fmla="*/ 5 w 1852"/>
              <a:gd name="T69" fmla="*/ 938 h 964"/>
              <a:gd name="T70" fmla="*/ 22 w 1852"/>
              <a:gd name="T71" fmla="*/ 964 h 964"/>
              <a:gd name="T72" fmla="*/ 1260 w 1852"/>
              <a:gd name="T73" fmla="*/ 964 h 964"/>
              <a:gd name="T74" fmla="*/ 1270 w 1852"/>
              <a:gd name="T75" fmla="*/ 634 h 964"/>
              <a:gd name="T76" fmla="*/ 1492 w 1852"/>
              <a:gd name="T77" fmla="*/ 197 h 964"/>
              <a:gd name="T78" fmla="*/ 1650 w 1852"/>
              <a:gd name="T79" fmla="*/ 44 h 964"/>
              <a:gd name="T80" fmla="*/ 1808 w 1852"/>
              <a:gd name="T81" fmla="*/ 197 h 964"/>
              <a:gd name="T82" fmla="*/ 1852 w 1852"/>
              <a:gd name="T83" fmla="*/ 197 h 964"/>
              <a:gd name="T84" fmla="*/ 1793 w 1852"/>
              <a:gd name="T85" fmla="*/ 55 h 964"/>
              <a:gd name="T86" fmla="*/ 1650 w 1852"/>
              <a:gd name="T87" fmla="*/ 0 h 964"/>
              <a:gd name="T88" fmla="*/ 1507 w 1852"/>
              <a:gd name="T89" fmla="*/ 55 h 964"/>
              <a:gd name="T90" fmla="*/ 1448 w 1852"/>
              <a:gd name="T91" fmla="*/ 197 h 964"/>
              <a:gd name="T92" fmla="*/ 1492 w 1852"/>
              <a:gd name="T93" fmla="*/ 197 h 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852" h="964">
                <a:moveTo>
                  <a:pt x="415" y="158"/>
                </a:moveTo>
                <a:cubicBezTo>
                  <a:pt x="422" y="173"/>
                  <a:pt x="433" y="189"/>
                  <a:pt x="452" y="199"/>
                </a:cubicBezTo>
                <a:cubicBezTo>
                  <a:pt x="457" y="202"/>
                  <a:pt x="461" y="206"/>
                  <a:pt x="463" y="211"/>
                </a:cubicBezTo>
                <a:cubicBezTo>
                  <a:pt x="500" y="306"/>
                  <a:pt x="563" y="449"/>
                  <a:pt x="586" y="470"/>
                </a:cubicBezTo>
                <a:cubicBezTo>
                  <a:pt x="623" y="503"/>
                  <a:pt x="725" y="567"/>
                  <a:pt x="779" y="567"/>
                </a:cubicBezTo>
                <a:cubicBezTo>
                  <a:pt x="833" y="567"/>
                  <a:pt x="935" y="503"/>
                  <a:pt x="972" y="470"/>
                </a:cubicBezTo>
                <a:cubicBezTo>
                  <a:pt x="995" y="449"/>
                  <a:pt x="1058" y="306"/>
                  <a:pt x="1095" y="211"/>
                </a:cubicBezTo>
                <a:cubicBezTo>
                  <a:pt x="1097" y="206"/>
                  <a:pt x="1101" y="202"/>
                  <a:pt x="1105" y="199"/>
                </a:cubicBezTo>
                <a:cubicBezTo>
                  <a:pt x="1125" y="189"/>
                  <a:pt x="1136" y="173"/>
                  <a:pt x="1142" y="158"/>
                </a:cubicBezTo>
                <a:cubicBezTo>
                  <a:pt x="1194" y="134"/>
                  <a:pt x="1194" y="134"/>
                  <a:pt x="1194" y="134"/>
                </a:cubicBezTo>
                <a:cubicBezTo>
                  <a:pt x="1194" y="135"/>
                  <a:pt x="1194" y="136"/>
                  <a:pt x="1193" y="138"/>
                </a:cubicBezTo>
                <a:cubicBezTo>
                  <a:pt x="1190" y="158"/>
                  <a:pt x="1178" y="207"/>
                  <a:pt x="1133" y="234"/>
                </a:cubicBezTo>
                <a:cubicBezTo>
                  <a:pt x="1114" y="283"/>
                  <a:pt x="1049" y="443"/>
                  <a:pt x="1010" y="493"/>
                </a:cubicBezTo>
                <a:cubicBezTo>
                  <a:pt x="1010" y="563"/>
                  <a:pt x="1010" y="563"/>
                  <a:pt x="1010" y="563"/>
                </a:cubicBezTo>
                <a:cubicBezTo>
                  <a:pt x="1009" y="563"/>
                  <a:pt x="1009" y="563"/>
                  <a:pt x="1009" y="563"/>
                </a:cubicBezTo>
                <a:cubicBezTo>
                  <a:pt x="995" y="582"/>
                  <a:pt x="995" y="582"/>
                  <a:pt x="995" y="582"/>
                </a:cubicBezTo>
                <a:cubicBezTo>
                  <a:pt x="995" y="582"/>
                  <a:pt x="985" y="596"/>
                  <a:pt x="966" y="613"/>
                </a:cubicBezTo>
                <a:cubicBezTo>
                  <a:pt x="966" y="530"/>
                  <a:pt x="966" y="530"/>
                  <a:pt x="966" y="530"/>
                </a:cubicBezTo>
                <a:cubicBezTo>
                  <a:pt x="914" y="567"/>
                  <a:pt x="834" y="611"/>
                  <a:pt x="779" y="611"/>
                </a:cubicBezTo>
                <a:cubicBezTo>
                  <a:pt x="724" y="611"/>
                  <a:pt x="644" y="567"/>
                  <a:pt x="592" y="530"/>
                </a:cubicBezTo>
                <a:cubicBezTo>
                  <a:pt x="592" y="613"/>
                  <a:pt x="592" y="613"/>
                  <a:pt x="592" y="613"/>
                </a:cubicBezTo>
                <a:cubicBezTo>
                  <a:pt x="574" y="596"/>
                  <a:pt x="564" y="583"/>
                  <a:pt x="563" y="582"/>
                </a:cubicBezTo>
                <a:cubicBezTo>
                  <a:pt x="549" y="563"/>
                  <a:pt x="549" y="563"/>
                  <a:pt x="549" y="563"/>
                </a:cubicBezTo>
                <a:cubicBezTo>
                  <a:pt x="548" y="563"/>
                  <a:pt x="548" y="563"/>
                  <a:pt x="548" y="563"/>
                </a:cubicBezTo>
                <a:cubicBezTo>
                  <a:pt x="548" y="494"/>
                  <a:pt x="548" y="494"/>
                  <a:pt x="548" y="494"/>
                </a:cubicBezTo>
                <a:cubicBezTo>
                  <a:pt x="509" y="444"/>
                  <a:pt x="444" y="283"/>
                  <a:pt x="425" y="234"/>
                </a:cubicBezTo>
                <a:cubicBezTo>
                  <a:pt x="382" y="208"/>
                  <a:pt x="369" y="165"/>
                  <a:pt x="365" y="140"/>
                </a:cubicBezTo>
                <a:cubicBezTo>
                  <a:pt x="365" y="138"/>
                  <a:pt x="364" y="136"/>
                  <a:pt x="365" y="134"/>
                </a:cubicBezTo>
                <a:lnTo>
                  <a:pt x="415" y="158"/>
                </a:lnTo>
                <a:close/>
                <a:moveTo>
                  <a:pt x="1270" y="634"/>
                </a:moveTo>
                <a:cubicBezTo>
                  <a:pt x="1158" y="609"/>
                  <a:pt x="1031" y="607"/>
                  <a:pt x="1031" y="607"/>
                </a:cubicBezTo>
                <a:cubicBezTo>
                  <a:pt x="1031" y="607"/>
                  <a:pt x="946" y="726"/>
                  <a:pt x="779" y="728"/>
                </a:cubicBezTo>
                <a:cubicBezTo>
                  <a:pt x="612" y="726"/>
                  <a:pt x="527" y="607"/>
                  <a:pt x="527" y="607"/>
                </a:cubicBezTo>
                <a:cubicBezTo>
                  <a:pt x="527" y="607"/>
                  <a:pt x="310" y="610"/>
                  <a:pt x="192" y="664"/>
                </a:cubicBezTo>
                <a:cubicBezTo>
                  <a:pt x="97" y="708"/>
                  <a:pt x="28" y="874"/>
                  <a:pt x="5" y="938"/>
                </a:cubicBezTo>
                <a:cubicBezTo>
                  <a:pt x="0" y="951"/>
                  <a:pt x="9" y="964"/>
                  <a:pt x="22" y="964"/>
                </a:cubicBezTo>
                <a:cubicBezTo>
                  <a:pt x="1260" y="964"/>
                  <a:pt x="1260" y="964"/>
                  <a:pt x="1260" y="964"/>
                </a:cubicBezTo>
                <a:lnTo>
                  <a:pt x="1270" y="634"/>
                </a:lnTo>
                <a:close/>
                <a:moveTo>
                  <a:pt x="1492" y="197"/>
                </a:moveTo>
                <a:cubicBezTo>
                  <a:pt x="1498" y="104"/>
                  <a:pt x="1559" y="44"/>
                  <a:pt x="1650" y="44"/>
                </a:cubicBezTo>
                <a:cubicBezTo>
                  <a:pt x="1742" y="44"/>
                  <a:pt x="1802" y="104"/>
                  <a:pt x="1808" y="197"/>
                </a:cubicBezTo>
                <a:cubicBezTo>
                  <a:pt x="1852" y="197"/>
                  <a:pt x="1852" y="197"/>
                  <a:pt x="1852" y="197"/>
                </a:cubicBezTo>
                <a:cubicBezTo>
                  <a:pt x="1849" y="140"/>
                  <a:pt x="1829" y="91"/>
                  <a:pt x="1793" y="55"/>
                </a:cubicBezTo>
                <a:cubicBezTo>
                  <a:pt x="1757" y="20"/>
                  <a:pt x="1706" y="0"/>
                  <a:pt x="1650" y="0"/>
                </a:cubicBezTo>
                <a:cubicBezTo>
                  <a:pt x="1594" y="0"/>
                  <a:pt x="1543" y="20"/>
                  <a:pt x="1507" y="55"/>
                </a:cubicBezTo>
                <a:cubicBezTo>
                  <a:pt x="1471" y="91"/>
                  <a:pt x="1451" y="140"/>
                  <a:pt x="1448" y="197"/>
                </a:cubicBezTo>
                <a:lnTo>
                  <a:pt x="1492" y="197"/>
                </a:lnTo>
                <a:close/>
              </a:path>
            </a:pathLst>
          </a:custGeom>
          <a:solidFill>
            <a:srgbClr val="98A6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9" name="Rectangle 138"/>
          <p:cNvSpPr/>
          <p:nvPr/>
        </p:nvSpPr>
        <p:spPr>
          <a:xfrm>
            <a:off x="10584740" y="3603286"/>
            <a:ext cx="858370" cy="16927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100" dirty="0">
                <a:solidFill>
                  <a:schemeClr val="tx2"/>
                </a:solidFill>
              </a:rPr>
              <a:t>Покупатели</a:t>
            </a:r>
            <a:endParaRPr lang="en-US" sz="1100" dirty="0">
              <a:solidFill>
                <a:schemeClr val="tx2"/>
              </a:solidFill>
            </a:endParaRPr>
          </a:p>
        </p:txBody>
      </p:sp>
      <p:cxnSp>
        <p:nvCxnSpPr>
          <p:cNvPr id="144" name="Elbow Connector 143"/>
          <p:cNvCxnSpPr/>
          <p:nvPr/>
        </p:nvCxnSpPr>
        <p:spPr>
          <a:xfrm>
            <a:off x="8418223" y="3319042"/>
            <a:ext cx="2304000" cy="842400"/>
          </a:xfrm>
          <a:prstGeom prst="bentConnector3">
            <a:avLst>
              <a:gd name="adj1" fmla="val 80868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Elbow Connector 150"/>
          <p:cNvCxnSpPr/>
          <p:nvPr/>
        </p:nvCxnSpPr>
        <p:spPr>
          <a:xfrm rot="10800000">
            <a:off x="7072401" y="3061349"/>
            <a:ext cx="1374938" cy="252000"/>
          </a:xfrm>
          <a:prstGeom prst="bentConnector3">
            <a:avLst>
              <a:gd name="adj1" fmla="val 50000"/>
            </a:avLst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142"/>
          <p:cNvCxnSpPr>
            <a:stCxn id="14" idx="3"/>
            <a:endCxn id="109" idx="1"/>
          </p:cNvCxnSpPr>
          <p:nvPr/>
        </p:nvCxnSpPr>
        <p:spPr>
          <a:xfrm>
            <a:off x="7073323" y="2987548"/>
            <a:ext cx="2087062" cy="2983"/>
          </a:xfrm>
          <a:prstGeom prst="straightConnector1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" name="Picture 106"/>
          <p:cNvPicPr preferRelativeResize="0"/>
          <p:nvPr/>
        </p:nvPicPr>
        <p:blipFill rotWithShape="1">
          <a:blip r:embed="rId17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pSp>
        <p:nvGrpSpPr>
          <p:cNvPr id="104" name="Group 99"/>
          <p:cNvGrpSpPr/>
          <p:nvPr/>
        </p:nvGrpSpPr>
        <p:grpSpPr>
          <a:xfrm>
            <a:off x="9160385" y="2694045"/>
            <a:ext cx="1853540" cy="592972"/>
            <a:chOff x="1138737" y="1484605"/>
            <a:chExt cx="3181419" cy="1044000"/>
          </a:xfrm>
        </p:grpSpPr>
        <p:sp>
          <p:nvSpPr>
            <p:cNvPr id="106" name="Rectangle 101"/>
            <p:cNvSpPr/>
            <p:nvPr/>
          </p:nvSpPr>
          <p:spPr>
            <a:xfrm>
              <a:off x="3678600" y="1520265"/>
              <a:ext cx="641556" cy="972678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3"/>
            <p:cNvSpPr/>
            <p:nvPr/>
          </p:nvSpPr>
          <p:spPr>
            <a:xfrm>
              <a:off x="2952385" y="1570381"/>
              <a:ext cx="1088784" cy="872449"/>
            </a:xfrm>
            <a:prstGeom prst="rect">
              <a:avLst/>
            </a:prstGeom>
            <a:solidFill>
              <a:srgbClr val="F4EA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9" name="Picture 105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737" y="1570381"/>
              <a:ext cx="2051020" cy="872449"/>
            </a:xfrm>
            <a:prstGeom prst="rect">
              <a:avLst/>
            </a:prstGeom>
          </p:spPr>
        </p:pic>
        <p:sp>
          <p:nvSpPr>
            <p:cNvPr id="114" name="Rectangle 106"/>
            <p:cNvSpPr/>
            <p:nvPr/>
          </p:nvSpPr>
          <p:spPr>
            <a:xfrm>
              <a:off x="3677045" y="1484605"/>
              <a:ext cx="641556" cy="1044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15" name="Shape 247"/>
            <p:cNvPicPr preferRelativeResize="0">
              <a:picLocks noChangeAspect="1"/>
            </p:cNvPicPr>
            <p:nvPr/>
          </p:nvPicPr>
          <p:blipFill rotWithShape="1">
            <a:blip r:embed="rId19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 l="42205" t="49494" r="44764" b="24172"/>
            <a:stretch/>
          </p:blipFill>
          <p:spPr>
            <a:xfrm>
              <a:off x="3239118" y="1561229"/>
              <a:ext cx="880266" cy="881600"/>
            </a:xfrm>
            <a:prstGeom prst="ellipse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00084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" name="Object 9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6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778785" y="4263390"/>
            <a:ext cx="563690" cy="327660"/>
          </a:xfrm>
          <a:prstGeom prst="rect">
            <a:avLst/>
          </a:prstGeom>
          <a:solidFill>
            <a:srgbClr val="98A6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999" y="299463"/>
            <a:ext cx="10927000" cy="664797"/>
          </a:xfrm>
        </p:spPr>
        <p:txBody>
          <a:bodyPr/>
          <a:lstStyle/>
          <a:p>
            <a:r>
              <a:rPr lang="ru-RU" dirty="0"/>
              <a:t>Национальный каталог станет решением нового уровня для всех участников рынка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580428" y="1343983"/>
            <a:ext cx="4685413" cy="1077218"/>
            <a:chOff x="580428" y="2856206"/>
            <a:chExt cx="4685413" cy="1077218"/>
          </a:xfrm>
        </p:grpSpPr>
        <p:grpSp>
          <p:nvGrpSpPr>
            <p:cNvPr id="100" name="bcgIcons_BarCode"/>
            <p:cNvGrpSpPr>
              <a:grpSpLocks noChangeAspect="1"/>
            </p:cNvGrpSpPr>
            <p:nvPr/>
          </p:nvGrpSpPr>
          <p:grpSpPr bwMode="auto">
            <a:xfrm>
              <a:off x="580428" y="2937577"/>
              <a:ext cx="852455" cy="853244"/>
              <a:chOff x="1682" y="0"/>
              <a:chExt cx="4316" cy="4320"/>
            </a:xfrm>
          </p:grpSpPr>
          <p:sp>
            <p:nvSpPr>
              <p:cNvPr id="101" name="AutoShape 14"/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16"/>
              <p:cNvSpPr>
                <a:spLocks noEditPoints="1"/>
              </p:cNvSpPr>
              <p:nvPr/>
            </p:nvSpPr>
            <p:spPr bwMode="auto">
              <a:xfrm>
                <a:off x="2255" y="986"/>
                <a:ext cx="3166" cy="2344"/>
              </a:xfrm>
              <a:custGeom>
                <a:avLst/>
                <a:gdLst>
                  <a:gd name="T0" fmla="*/ 1668 w 1690"/>
                  <a:gd name="T1" fmla="*/ 1250 h 1250"/>
                  <a:gd name="T2" fmla="*/ 22 w 1690"/>
                  <a:gd name="T3" fmla="*/ 1250 h 1250"/>
                  <a:gd name="T4" fmla="*/ 0 w 1690"/>
                  <a:gd name="T5" fmla="*/ 1228 h 1250"/>
                  <a:gd name="T6" fmla="*/ 0 w 1690"/>
                  <a:gd name="T7" fmla="*/ 22 h 1250"/>
                  <a:gd name="T8" fmla="*/ 22 w 1690"/>
                  <a:gd name="T9" fmla="*/ 0 h 1250"/>
                  <a:gd name="T10" fmla="*/ 1668 w 1690"/>
                  <a:gd name="T11" fmla="*/ 0 h 1250"/>
                  <a:gd name="T12" fmla="*/ 1690 w 1690"/>
                  <a:gd name="T13" fmla="*/ 22 h 1250"/>
                  <a:gd name="T14" fmla="*/ 1690 w 1690"/>
                  <a:gd name="T15" fmla="*/ 1228 h 1250"/>
                  <a:gd name="T16" fmla="*/ 1668 w 1690"/>
                  <a:gd name="T17" fmla="*/ 1250 h 1250"/>
                  <a:gd name="T18" fmla="*/ 44 w 1690"/>
                  <a:gd name="T19" fmla="*/ 1206 h 1250"/>
                  <a:gd name="T20" fmla="*/ 1646 w 1690"/>
                  <a:gd name="T21" fmla="*/ 1206 h 1250"/>
                  <a:gd name="T22" fmla="*/ 1646 w 1690"/>
                  <a:gd name="T23" fmla="*/ 44 h 1250"/>
                  <a:gd name="T24" fmla="*/ 44 w 1690"/>
                  <a:gd name="T25" fmla="*/ 44 h 1250"/>
                  <a:gd name="T26" fmla="*/ 44 w 1690"/>
                  <a:gd name="T27" fmla="*/ 1206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90" h="1250">
                    <a:moveTo>
                      <a:pt x="1668" y="1250"/>
                    </a:moveTo>
                    <a:cubicBezTo>
                      <a:pt x="22" y="1250"/>
                      <a:pt x="22" y="1250"/>
                      <a:pt x="22" y="1250"/>
                    </a:cubicBezTo>
                    <a:cubicBezTo>
                      <a:pt x="10" y="1250"/>
                      <a:pt x="0" y="1240"/>
                      <a:pt x="0" y="122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668" y="0"/>
                      <a:pt x="1668" y="0"/>
                      <a:pt x="1668" y="0"/>
                    </a:cubicBezTo>
                    <a:cubicBezTo>
                      <a:pt x="1680" y="0"/>
                      <a:pt x="1690" y="10"/>
                      <a:pt x="1690" y="22"/>
                    </a:cubicBezTo>
                    <a:cubicBezTo>
                      <a:pt x="1690" y="1228"/>
                      <a:pt x="1690" y="1228"/>
                      <a:pt x="1690" y="1228"/>
                    </a:cubicBezTo>
                    <a:cubicBezTo>
                      <a:pt x="1690" y="1240"/>
                      <a:pt x="1680" y="1250"/>
                      <a:pt x="1668" y="1250"/>
                    </a:cubicBezTo>
                    <a:close/>
                    <a:moveTo>
                      <a:pt x="44" y="1206"/>
                    </a:moveTo>
                    <a:cubicBezTo>
                      <a:pt x="1646" y="1206"/>
                      <a:pt x="1646" y="1206"/>
                      <a:pt x="1646" y="1206"/>
                    </a:cubicBezTo>
                    <a:cubicBezTo>
                      <a:pt x="1646" y="44"/>
                      <a:pt x="1646" y="44"/>
                      <a:pt x="1646" y="44"/>
                    </a:cubicBezTo>
                    <a:cubicBezTo>
                      <a:pt x="44" y="44"/>
                      <a:pt x="44" y="44"/>
                      <a:pt x="44" y="44"/>
                    </a:cubicBezTo>
                    <a:lnTo>
                      <a:pt x="44" y="1206"/>
                    </a:lnTo>
                    <a:close/>
                  </a:path>
                </a:pathLst>
              </a:custGeom>
              <a:solidFill>
                <a:srgbClr val="98A6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17"/>
              <p:cNvSpPr>
                <a:spLocks noEditPoints="1"/>
              </p:cNvSpPr>
              <p:nvPr/>
            </p:nvSpPr>
            <p:spPr bwMode="auto">
              <a:xfrm>
                <a:off x="2444" y="1176"/>
                <a:ext cx="2788" cy="1965"/>
              </a:xfrm>
              <a:custGeom>
                <a:avLst/>
                <a:gdLst>
                  <a:gd name="T0" fmla="*/ 10 w 1488"/>
                  <a:gd name="T1" fmla="*/ 0 h 1048"/>
                  <a:gd name="T2" fmla="*/ 0 w 1488"/>
                  <a:gd name="T3" fmla="*/ 1038 h 1048"/>
                  <a:gd name="T4" fmla="*/ 1478 w 1488"/>
                  <a:gd name="T5" fmla="*/ 1048 h 1048"/>
                  <a:gd name="T6" fmla="*/ 1488 w 1488"/>
                  <a:gd name="T7" fmla="*/ 10 h 1048"/>
                  <a:gd name="T8" fmla="*/ 161 w 1488"/>
                  <a:gd name="T9" fmla="*/ 954 h 1048"/>
                  <a:gd name="T10" fmla="*/ 108 w 1488"/>
                  <a:gd name="T11" fmla="*/ 94 h 1048"/>
                  <a:gd name="T12" fmla="*/ 161 w 1488"/>
                  <a:gd name="T13" fmla="*/ 954 h 1048"/>
                  <a:gd name="T14" fmla="*/ 189 w 1488"/>
                  <a:gd name="T15" fmla="*/ 954 h 1048"/>
                  <a:gd name="T16" fmla="*/ 213 w 1488"/>
                  <a:gd name="T17" fmla="*/ 94 h 1048"/>
                  <a:gd name="T18" fmla="*/ 311 w 1488"/>
                  <a:gd name="T19" fmla="*/ 954 h 1048"/>
                  <a:gd name="T20" fmla="*/ 267 w 1488"/>
                  <a:gd name="T21" fmla="*/ 94 h 1048"/>
                  <a:gd name="T22" fmla="*/ 311 w 1488"/>
                  <a:gd name="T23" fmla="*/ 954 h 1048"/>
                  <a:gd name="T24" fmla="*/ 363 w 1488"/>
                  <a:gd name="T25" fmla="*/ 954 h 1048"/>
                  <a:gd name="T26" fmla="*/ 452 w 1488"/>
                  <a:gd name="T27" fmla="*/ 94 h 1048"/>
                  <a:gd name="T28" fmla="*/ 549 w 1488"/>
                  <a:gd name="T29" fmla="*/ 954 h 1048"/>
                  <a:gd name="T30" fmla="*/ 504 w 1488"/>
                  <a:gd name="T31" fmla="*/ 94 h 1048"/>
                  <a:gd name="T32" fmla="*/ 549 w 1488"/>
                  <a:gd name="T33" fmla="*/ 954 h 1048"/>
                  <a:gd name="T34" fmla="*/ 690 w 1488"/>
                  <a:gd name="T35" fmla="*/ 954 h 1048"/>
                  <a:gd name="T36" fmla="*/ 787 w 1488"/>
                  <a:gd name="T37" fmla="*/ 94 h 1048"/>
                  <a:gd name="T38" fmla="*/ 928 w 1488"/>
                  <a:gd name="T39" fmla="*/ 954 h 1048"/>
                  <a:gd name="T40" fmla="*/ 883 w 1488"/>
                  <a:gd name="T41" fmla="*/ 94 h 1048"/>
                  <a:gd name="T42" fmla="*/ 928 w 1488"/>
                  <a:gd name="T43" fmla="*/ 954 h 1048"/>
                  <a:gd name="T44" fmla="*/ 985 w 1488"/>
                  <a:gd name="T45" fmla="*/ 954 h 1048"/>
                  <a:gd name="T46" fmla="*/ 1083 w 1488"/>
                  <a:gd name="T47" fmla="*/ 94 h 1048"/>
                  <a:gd name="T48" fmla="*/ 1165 w 1488"/>
                  <a:gd name="T49" fmla="*/ 954 h 1048"/>
                  <a:gd name="T50" fmla="*/ 1115 w 1488"/>
                  <a:gd name="T51" fmla="*/ 94 h 1048"/>
                  <a:gd name="T52" fmla="*/ 1165 w 1488"/>
                  <a:gd name="T53" fmla="*/ 954 h 1048"/>
                  <a:gd name="T54" fmla="*/ 1208 w 1488"/>
                  <a:gd name="T55" fmla="*/ 954 h 1048"/>
                  <a:gd name="T56" fmla="*/ 1257 w 1488"/>
                  <a:gd name="T57" fmla="*/ 94 h 1048"/>
                  <a:gd name="T58" fmla="*/ 1380 w 1488"/>
                  <a:gd name="T59" fmla="*/ 954 h 1048"/>
                  <a:gd name="T60" fmla="*/ 1323 w 1488"/>
                  <a:gd name="T61" fmla="*/ 94 h 1048"/>
                  <a:gd name="T62" fmla="*/ 1380 w 1488"/>
                  <a:gd name="T63" fmla="*/ 954 h 1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88" h="1048">
                    <a:moveTo>
                      <a:pt x="1478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1038"/>
                      <a:pt x="0" y="1038"/>
                      <a:pt x="0" y="1038"/>
                    </a:cubicBezTo>
                    <a:cubicBezTo>
                      <a:pt x="0" y="1044"/>
                      <a:pt x="5" y="1048"/>
                      <a:pt x="10" y="1048"/>
                    </a:cubicBezTo>
                    <a:cubicBezTo>
                      <a:pt x="1478" y="1048"/>
                      <a:pt x="1478" y="1048"/>
                      <a:pt x="1478" y="1048"/>
                    </a:cubicBezTo>
                    <a:cubicBezTo>
                      <a:pt x="1483" y="1048"/>
                      <a:pt x="1488" y="1044"/>
                      <a:pt x="1488" y="1038"/>
                    </a:cubicBezTo>
                    <a:cubicBezTo>
                      <a:pt x="1488" y="10"/>
                      <a:pt x="1488" y="10"/>
                      <a:pt x="1488" y="10"/>
                    </a:cubicBezTo>
                    <a:cubicBezTo>
                      <a:pt x="1488" y="4"/>
                      <a:pt x="1483" y="0"/>
                      <a:pt x="1478" y="0"/>
                    </a:cubicBezTo>
                    <a:close/>
                    <a:moveTo>
                      <a:pt x="161" y="954"/>
                    </a:moveTo>
                    <a:cubicBezTo>
                      <a:pt x="108" y="954"/>
                      <a:pt x="108" y="954"/>
                      <a:pt x="108" y="954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61" y="94"/>
                      <a:pt x="161" y="94"/>
                      <a:pt x="161" y="94"/>
                    </a:cubicBezTo>
                    <a:lnTo>
                      <a:pt x="161" y="954"/>
                    </a:lnTo>
                    <a:close/>
                    <a:moveTo>
                      <a:pt x="213" y="954"/>
                    </a:moveTo>
                    <a:cubicBezTo>
                      <a:pt x="189" y="954"/>
                      <a:pt x="189" y="954"/>
                      <a:pt x="189" y="954"/>
                    </a:cubicBezTo>
                    <a:cubicBezTo>
                      <a:pt x="189" y="94"/>
                      <a:pt x="189" y="94"/>
                      <a:pt x="189" y="94"/>
                    </a:cubicBezTo>
                    <a:cubicBezTo>
                      <a:pt x="213" y="94"/>
                      <a:pt x="213" y="94"/>
                      <a:pt x="213" y="94"/>
                    </a:cubicBezTo>
                    <a:lnTo>
                      <a:pt x="213" y="954"/>
                    </a:lnTo>
                    <a:close/>
                    <a:moveTo>
                      <a:pt x="311" y="954"/>
                    </a:moveTo>
                    <a:cubicBezTo>
                      <a:pt x="267" y="954"/>
                      <a:pt x="267" y="954"/>
                      <a:pt x="267" y="954"/>
                    </a:cubicBezTo>
                    <a:cubicBezTo>
                      <a:pt x="267" y="94"/>
                      <a:pt x="267" y="94"/>
                      <a:pt x="267" y="94"/>
                    </a:cubicBezTo>
                    <a:cubicBezTo>
                      <a:pt x="311" y="94"/>
                      <a:pt x="311" y="94"/>
                      <a:pt x="311" y="94"/>
                    </a:cubicBezTo>
                    <a:lnTo>
                      <a:pt x="311" y="954"/>
                    </a:lnTo>
                    <a:close/>
                    <a:moveTo>
                      <a:pt x="452" y="954"/>
                    </a:moveTo>
                    <a:cubicBezTo>
                      <a:pt x="363" y="954"/>
                      <a:pt x="363" y="954"/>
                      <a:pt x="363" y="954"/>
                    </a:cubicBezTo>
                    <a:cubicBezTo>
                      <a:pt x="363" y="94"/>
                      <a:pt x="363" y="94"/>
                      <a:pt x="363" y="94"/>
                    </a:cubicBezTo>
                    <a:cubicBezTo>
                      <a:pt x="452" y="94"/>
                      <a:pt x="452" y="94"/>
                      <a:pt x="452" y="94"/>
                    </a:cubicBezTo>
                    <a:lnTo>
                      <a:pt x="452" y="954"/>
                    </a:lnTo>
                    <a:close/>
                    <a:moveTo>
                      <a:pt x="549" y="954"/>
                    </a:moveTo>
                    <a:cubicBezTo>
                      <a:pt x="504" y="954"/>
                      <a:pt x="504" y="954"/>
                      <a:pt x="504" y="954"/>
                    </a:cubicBezTo>
                    <a:cubicBezTo>
                      <a:pt x="504" y="94"/>
                      <a:pt x="504" y="94"/>
                      <a:pt x="504" y="94"/>
                    </a:cubicBezTo>
                    <a:cubicBezTo>
                      <a:pt x="549" y="94"/>
                      <a:pt x="549" y="94"/>
                      <a:pt x="549" y="94"/>
                    </a:cubicBezTo>
                    <a:lnTo>
                      <a:pt x="549" y="954"/>
                    </a:lnTo>
                    <a:close/>
                    <a:moveTo>
                      <a:pt x="787" y="954"/>
                    </a:moveTo>
                    <a:cubicBezTo>
                      <a:pt x="690" y="954"/>
                      <a:pt x="690" y="954"/>
                      <a:pt x="690" y="954"/>
                    </a:cubicBezTo>
                    <a:cubicBezTo>
                      <a:pt x="690" y="94"/>
                      <a:pt x="690" y="94"/>
                      <a:pt x="690" y="94"/>
                    </a:cubicBezTo>
                    <a:cubicBezTo>
                      <a:pt x="787" y="94"/>
                      <a:pt x="787" y="94"/>
                      <a:pt x="787" y="94"/>
                    </a:cubicBezTo>
                    <a:lnTo>
                      <a:pt x="787" y="954"/>
                    </a:lnTo>
                    <a:close/>
                    <a:moveTo>
                      <a:pt x="928" y="954"/>
                    </a:moveTo>
                    <a:cubicBezTo>
                      <a:pt x="883" y="954"/>
                      <a:pt x="883" y="954"/>
                      <a:pt x="883" y="954"/>
                    </a:cubicBezTo>
                    <a:cubicBezTo>
                      <a:pt x="883" y="94"/>
                      <a:pt x="883" y="94"/>
                      <a:pt x="883" y="94"/>
                    </a:cubicBezTo>
                    <a:cubicBezTo>
                      <a:pt x="928" y="94"/>
                      <a:pt x="928" y="94"/>
                      <a:pt x="928" y="94"/>
                    </a:cubicBezTo>
                    <a:lnTo>
                      <a:pt x="928" y="954"/>
                    </a:lnTo>
                    <a:close/>
                    <a:moveTo>
                      <a:pt x="1083" y="954"/>
                    </a:moveTo>
                    <a:cubicBezTo>
                      <a:pt x="985" y="954"/>
                      <a:pt x="985" y="954"/>
                      <a:pt x="985" y="954"/>
                    </a:cubicBezTo>
                    <a:cubicBezTo>
                      <a:pt x="985" y="94"/>
                      <a:pt x="985" y="94"/>
                      <a:pt x="985" y="94"/>
                    </a:cubicBezTo>
                    <a:cubicBezTo>
                      <a:pt x="1083" y="94"/>
                      <a:pt x="1083" y="94"/>
                      <a:pt x="1083" y="94"/>
                    </a:cubicBezTo>
                    <a:lnTo>
                      <a:pt x="1083" y="954"/>
                    </a:lnTo>
                    <a:close/>
                    <a:moveTo>
                      <a:pt x="1165" y="954"/>
                    </a:moveTo>
                    <a:cubicBezTo>
                      <a:pt x="1115" y="954"/>
                      <a:pt x="1115" y="954"/>
                      <a:pt x="1115" y="954"/>
                    </a:cubicBezTo>
                    <a:cubicBezTo>
                      <a:pt x="1115" y="94"/>
                      <a:pt x="1115" y="94"/>
                      <a:pt x="1115" y="94"/>
                    </a:cubicBezTo>
                    <a:cubicBezTo>
                      <a:pt x="1165" y="94"/>
                      <a:pt x="1165" y="94"/>
                      <a:pt x="1165" y="94"/>
                    </a:cubicBezTo>
                    <a:lnTo>
                      <a:pt x="1165" y="954"/>
                    </a:lnTo>
                    <a:close/>
                    <a:moveTo>
                      <a:pt x="1257" y="954"/>
                    </a:moveTo>
                    <a:cubicBezTo>
                      <a:pt x="1208" y="954"/>
                      <a:pt x="1208" y="954"/>
                      <a:pt x="1208" y="954"/>
                    </a:cubicBezTo>
                    <a:cubicBezTo>
                      <a:pt x="1208" y="94"/>
                      <a:pt x="1208" y="94"/>
                      <a:pt x="1208" y="94"/>
                    </a:cubicBezTo>
                    <a:cubicBezTo>
                      <a:pt x="1257" y="94"/>
                      <a:pt x="1257" y="94"/>
                      <a:pt x="1257" y="94"/>
                    </a:cubicBezTo>
                    <a:lnTo>
                      <a:pt x="1257" y="954"/>
                    </a:lnTo>
                    <a:close/>
                    <a:moveTo>
                      <a:pt x="1380" y="954"/>
                    </a:moveTo>
                    <a:cubicBezTo>
                      <a:pt x="1323" y="954"/>
                      <a:pt x="1323" y="954"/>
                      <a:pt x="1323" y="954"/>
                    </a:cubicBezTo>
                    <a:cubicBezTo>
                      <a:pt x="1323" y="94"/>
                      <a:pt x="1323" y="94"/>
                      <a:pt x="1323" y="94"/>
                    </a:cubicBezTo>
                    <a:cubicBezTo>
                      <a:pt x="1380" y="94"/>
                      <a:pt x="1380" y="94"/>
                      <a:pt x="1380" y="94"/>
                    </a:cubicBezTo>
                    <a:lnTo>
                      <a:pt x="1380" y="954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04" name="TextBox 103"/>
            <p:cNvSpPr txBox="1"/>
            <p:nvPr/>
          </p:nvSpPr>
          <p:spPr>
            <a:xfrm>
              <a:off x="1559194" y="2856206"/>
              <a:ext cx="3706647" cy="10772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ru-RU" sz="1400" dirty="0">
                  <a:solidFill>
                    <a:schemeClr val="tx1"/>
                  </a:solidFill>
                </a:rPr>
                <a:t>Каждому товару присваивается </a:t>
              </a:r>
              <a:r>
                <a:rPr lang="ru-RU" sz="1400" b="1" dirty="0">
                  <a:solidFill>
                    <a:schemeClr val="tx1"/>
                  </a:solidFill>
                </a:rPr>
                <a:t>уникальный номер </a:t>
              </a:r>
              <a:r>
                <a:rPr lang="en-US" sz="1400" dirty="0">
                  <a:solidFill>
                    <a:schemeClr val="tx1"/>
                  </a:solidFill>
                </a:rPr>
                <a:t>(</a:t>
              </a:r>
              <a:r>
                <a:rPr lang="en-US" sz="1400" dirty="0" err="1">
                  <a:solidFill>
                    <a:schemeClr val="tx1"/>
                  </a:solidFill>
                </a:rPr>
                <a:t>NTIN</a:t>
              </a:r>
              <a:r>
                <a:rPr lang="en-US" sz="1400" dirty="0">
                  <a:solidFill>
                    <a:schemeClr val="tx1"/>
                  </a:solidFill>
                </a:rPr>
                <a:t>), </a:t>
              </a:r>
              <a:r>
                <a:rPr lang="ru-RU" sz="1400" dirty="0">
                  <a:solidFill>
                    <a:schemeClr val="tx1"/>
                  </a:solidFill>
                </a:rPr>
                <a:t>используемый для однозначной идентификации товара участниками рынка и госорганами</a:t>
              </a:r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10" name="TextBox 109"/>
          <p:cNvSpPr txBox="1"/>
          <p:nvPr/>
        </p:nvSpPr>
        <p:spPr>
          <a:xfrm>
            <a:off x="5781368" y="1513260"/>
            <a:ext cx="5775631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324000" lvl="1" indent="-216000">
              <a:buClr>
                <a:srgbClr val="595959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 err="1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NTIN</a:t>
            </a:r>
            <a:r>
              <a:rPr lang="en-US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 </a:t>
            </a: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используется для системы маркировки товаров, а в перспективе – для всех ГИС, оперирующих информацией о товарах</a:t>
            </a:r>
          </a:p>
          <a:p>
            <a:pPr marL="324000" lvl="1" indent="-216000">
              <a:buClr>
                <a:srgbClr val="595959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Возможна интеграция с </a:t>
            </a:r>
            <a:r>
              <a:rPr lang="en-US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GS1, </a:t>
            </a: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когда производители будут получать через Национальный каталог не только </a:t>
            </a:r>
            <a:r>
              <a:rPr lang="en-US" sz="1200" dirty="0" err="1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NTIN</a:t>
            </a:r>
            <a:r>
              <a:rPr lang="en-US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, </a:t>
            </a: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но и </a:t>
            </a:r>
            <a:r>
              <a:rPr lang="en-US" sz="1200" dirty="0" err="1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GTIN</a:t>
            </a:r>
            <a:r>
              <a:rPr lang="en-US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 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5475216" y="1360592"/>
            <a:ext cx="0" cy="1044000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580428" y="2763912"/>
            <a:ext cx="4685413" cy="861774"/>
            <a:chOff x="580428" y="1544038"/>
            <a:chExt cx="4685413" cy="861774"/>
          </a:xfrm>
        </p:grpSpPr>
        <p:sp>
          <p:nvSpPr>
            <p:cNvPr id="4" name="TextBox 3"/>
            <p:cNvSpPr txBox="1"/>
            <p:nvPr/>
          </p:nvSpPr>
          <p:spPr>
            <a:xfrm>
              <a:off x="1559194" y="1544038"/>
              <a:ext cx="3706647" cy="86177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ru-RU" sz="1400" dirty="0">
                  <a:solidFill>
                    <a:schemeClr val="tx1"/>
                  </a:solidFill>
                </a:rPr>
                <a:t>Информация от поставщиков, органов по сертификации, иных разрешительных органов интегрируется в каталог по принципу </a:t>
              </a:r>
              <a:r>
                <a:rPr lang="ru-RU" sz="1400" b="1" dirty="0">
                  <a:solidFill>
                    <a:schemeClr val="tx1"/>
                  </a:solidFill>
                </a:rPr>
                <a:t>единого окна</a:t>
              </a:r>
              <a:endParaRPr lang="en-US" sz="14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60" name="Group 59"/>
            <p:cNvGrpSpPr>
              <a:grpSpLocks noChangeAspect="1"/>
            </p:cNvGrpSpPr>
            <p:nvPr/>
          </p:nvGrpSpPr>
          <p:grpSpPr>
            <a:xfrm>
              <a:off x="580428" y="1548303"/>
              <a:ext cx="853244" cy="853244"/>
              <a:chOff x="2667000" y="0"/>
              <a:chExt cx="6858000" cy="6858001"/>
            </a:xfrm>
          </p:grpSpPr>
          <p:sp>
            <p:nvSpPr>
              <p:cNvPr id="61" name="AutoShape 22"/>
              <p:cNvSpPr>
                <a:spLocks noChangeAspect="1" noChangeArrowheads="1" noTextEdit="1"/>
              </p:cNvSpPr>
              <p:nvPr/>
            </p:nvSpPr>
            <p:spPr bwMode="auto">
              <a:xfrm>
                <a:off x="2667000" y="0"/>
                <a:ext cx="6858000" cy="6858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7402" tIns="23701" rIns="47402" bIns="2370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3806822" y="1142997"/>
                <a:ext cx="4578347" cy="4565648"/>
                <a:chOff x="3806825" y="1143000"/>
                <a:chExt cx="4578351" cy="4565650"/>
              </a:xfrm>
            </p:grpSpPr>
            <p:sp>
              <p:nvSpPr>
                <p:cNvPr id="63" name="Freeform 62"/>
                <p:cNvSpPr>
                  <a:spLocks/>
                </p:cNvSpPr>
                <p:nvPr/>
              </p:nvSpPr>
              <p:spPr bwMode="auto">
                <a:xfrm>
                  <a:off x="3806825" y="1143000"/>
                  <a:ext cx="4578351" cy="4565650"/>
                </a:xfrm>
                <a:custGeom>
                  <a:avLst/>
                  <a:gdLst>
                    <a:gd name="connsiteX0" fmla="*/ 4152900 w 4578351"/>
                    <a:gd name="connsiteY0" fmla="*/ 3848100 h 4565650"/>
                    <a:gd name="connsiteX1" fmla="*/ 3860800 w 4578351"/>
                    <a:gd name="connsiteY1" fmla="*/ 4143375 h 4565650"/>
                    <a:gd name="connsiteX2" fmla="*/ 4152900 w 4578351"/>
                    <a:gd name="connsiteY2" fmla="*/ 4438650 h 4565650"/>
                    <a:gd name="connsiteX3" fmla="*/ 4445000 w 4578351"/>
                    <a:gd name="connsiteY3" fmla="*/ 4143375 h 4565650"/>
                    <a:gd name="connsiteX4" fmla="*/ 4152900 w 4578351"/>
                    <a:gd name="connsiteY4" fmla="*/ 3848100 h 4565650"/>
                    <a:gd name="connsiteX5" fmla="*/ 413545 w 4578351"/>
                    <a:gd name="connsiteY5" fmla="*/ 3848100 h 4565650"/>
                    <a:gd name="connsiteX6" fmla="*/ 115888 w 4578351"/>
                    <a:gd name="connsiteY6" fmla="*/ 4143375 h 4565650"/>
                    <a:gd name="connsiteX7" fmla="*/ 413545 w 4578351"/>
                    <a:gd name="connsiteY7" fmla="*/ 4438650 h 4565650"/>
                    <a:gd name="connsiteX8" fmla="*/ 711202 w 4578351"/>
                    <a:gd name="connsiteY8" fmla="*/ 4143375 h 4565650"/>
                    <a:gd name="connsiteX9" fmla="*/ 413545 w 4578351"/>
                    <a:gd name="connsiteY9" fmla="*/ 3848100 h 4565650"/>
                    <a:gd name="connsiteX10" fmla="*/ 3239087 w 4578351"/>
                    <a:gd name="connsiteY10" fmla="*/ 3092450 h 4565650"/>
                    <a:gd name="connsiteX11" fmla="*/ 3253968 w 4578351"/>
                    <a:gd name="connsiteY11" fmla="*/ 3092450 h 4565650"/>
                    <a:gd name="connsiteX12" fmla="*/ 3262896 w 4578351"/>
                    <a:gd name="connsiteY12" fmla="*/ 3092450 h 4565650"/>
                    <a:gd name="connsiteX13" fmla="*/ 3646819 w 4578351"/>
                    <a:gd name="connsiteY13" fmla="*/ 3148997 h 4565650"/>
                    <a:gd name="connsiteX14" fmla="*/ 3703365 w 4578351"/>
                    <a:gd name="connsiteY14" fmla="*/ 3220425 h 4565650"/>
                    <a:gd name="connsiteX15" fmla="*/ 3628962 w 4578351"/>
                    <a:gd name="connsiteY15" fmla="*/ 3276972 h 4565650"/>
                    <a:gd name="connsiteX16" fmla="*/ 3408727 w 4578351"/>
                    <a:gd name="connsiteY16" fmla="*/ 3247211 h 4565650"/>
                    <a:gd name="connsiteX17" fmla="*/ 3911695 w 4578351"/>
                    <a:gd name="connsiteY17" fmla="*/ 3803753 h 4565650"/>
                    <a:gd name="connsiteX18" fmla="*/ 4158715 w 4578351"/>
                    <a:gd name="connsiteY18" fmla="*/ 3726373 h 4565650"/>
                    <a:gd name="connsiteX19" fmla="*/ 4578351 w 4578351"/>
                    <a:gd name="connsiteY19" fmla="*/ 4146011 h 4565650"/>
                    <a:gd name="connsiteX20" fmla="*/ 4158715 w 4578351"/>
                    <a:gd name="connsiteY20" fmla="*/ 4565650 h 4565650"/>
                    <a:gd name="connsiteX21" fmla="*/ 3739079 w 4578351"/>
                    <a:gd name="connsiteY21" fmla="*/ 4146011 h 4565650"/>
                    <a:gd name="connsiteX22" fmla="*/ 3819435 w 4578351"/>
                    <a:gd name="connsiteY22" fmla="*/ 3898990 h 4565650"/>
                    <a:gd name="connsiteX23" fmla="*/ 3316467 w 4578351"/>
                    <a:gd name="connsiteY23" fmla="*/ 3339472 h 4565650"/>
                    <a:gd name="connsiteX24" fmla="*/ 3325395 w 4578351"/>
                    <a:gd name="connsiteY24" fmla="*/ 3544827 h 4565650"/>
                    <a:gd name="connsiteX25" fmla="*/ 3262896 w 4578351"/>
                    <a:gd name="connsiteY25" fmla="*/ 3613279 h 4565650"/>
                    <a:gd name="connsiteX26" fmla="*/ 3194445 w 4578351"/>
                    <a:gd name="connsiteY26" fmla="*/ 3550779 h 4565650"/>
                    <a:gd name="connsiteX27" fmla="*/ 3176588 w 4578351"/>
                    <a:gd name="connsiteY27" fmla="*/ 3160902 h 4565650"/>
                    <a:gd name="connsiteX28" fmla="*/ 3176588 w 4578351"/>
                    <a:gd name="connsiteY28" fmla="*/ 3157926 h 4565650"/>
                    <a:gd name="connsiteX29" fmla="*/ 3176588 w 4578351"/>
                    <a:gd name="connsiteY29" fmla="*/ 3151973 h 4565650"/>
                    <a:gd name="connsiteX30" fmla="*/ 3176588 w 4578351"/>
                    <a:gd name="connsiteY30" fmla="*/ 3148997 h 4565650"/>
                    <a:gd name="connsiteX31" fmla="*/ 3179564 w 4578351"/>
                    <a:gd name="connsiteY31" fmla="*/ 3143045 h 4565650"/>
                    <a:gd name="connsiteX32" fmla="*/ 3179564 w 4578351"/>
                    <a:gd name="connsiteY32" fmla="*/ 3140069 h 4565650"/>
                    <a:gd name="connsiteX33" fmla="*/ 3182541 w 4578351"/>
                    <a:gd name="connsiteY33" fmla="*/ 3134117 h 4565650"/>
                    <a:gd name="connsiteX34" fmla="*/ 3185517 w 4578351"/>
                    <a:gd name="connsiteY34" fmla="*/ 3128164 h 4565650"/>
                    <a:gd name="connsiteX35" fmla="*/ 3188493 w 4578351"/>
                    <a:gd name="connsiteY35" fmla="*/ 3122212 h 4565650"/>
                    <a:gd name="connsiteX36" fmla="*/ 3188493 w 4578351"/>
                    <a:gd name="connsiteY36" fmla="*/ 3119236 h 4565650"/>
                    <a:gd name="connsiteX37" fmla="*/ 3191469 w 4578351"/>
                    <a:gd name="connsiteY37" fmla="*/ 3116260 h 4565650"/>
                    <a:gd name="connsiteX38" fmla="*/ 3203374 w 4578351"/>
                    <a:gd name="connsiteY38" fmla="*/ 3107331 h 4565650"/>
                    <a:gd name="connsiteX39" fmla="*/ 3206350 w 4578351"/>
                    <a:gd name="connsiteY39" fmla="*/ 3104355 h 4565650"/>
                    <a:gd name="connsiteX40" fmla="*/ 3209326 w 4578351"/>
                    <a:gd name="connsiteY40" fmla="*/ 3101379 h 4565650"/>
                    <a:gd name="connsiteX41" fmla="*/ 3221230 w 4578351"/>
                    <a:gd name="connsiteY41" fmla="*/ 3098403 h 4565650"/>
                    <a:gd name="connsiteX42" fmla="*/ 3227183 w 4578351"/>
                    <a:gd name="connsiteY42" fmla="*/ 3095426 h 4565650"/>
                    <a:gd name="connsiteX43" fmla="*/ 3230159 w 4578351"/>
                    <a:gd name="connsiteY43" fmla="*/ 3095426 h 4565650"/>
                    <a:gd name="connsiteX44" fmla="*/ 3233135 w 4578351"/>
                    <a:gd name="connsiteY44" fmla="*/ 3095426 h 4565650"/>
                    <a:gd name="connsiteX45" fmla="*/ 3239087 w 4578351"/>
                    <a:gd name="connsiteY45" fmla="*/ 3092450 h 4565650"/>
                    <a:gd name="connsiteX46" fmla="*/ 1315455 w 4578351"/>
                    <a:gd name="connsiteY46" fmla="*/ 3092450 h 4565650"/>
                    <a:gd name="connsiteX47" fmla="*/ 1324383 w 4578351"/>
                    <a:gd name="connsiteY47" fmla="*/ 3092450 h 4565650"/>
                    <a:gd name="connsiteX48" fmla="*/ 1339264 w 4578351"/>
                    <a:gd name="connsiteY48" fmla="*/ 3092450 h 4565650"/>
                    <a:gd name="connsiteX49" fmla="*/ 1345216 w 4578351"/>
                    <a:gd name="connsiteY49" fmla="*/ 3095426 h 4565650"/>
                    <a:gd name="connsiteX50" fmla="*/ 1348193 w 4578351"/>
                    <a:gd name="connsiteY50" fmla="*/ 3095426 h 4565650"/>
                    <a:gd name="connsiteX51" fmla="*/ 1351169 w 4578351"/>
                    <a:gd name="connsiteY51" fmla="*/ 3095426 h 4565650"/>
                    <a:gd name="connsiteX52" fmla="*/ 1357121 w 4578351"/>
                    <a:gd name="connsiteY52" fmla="*/ 3098403 h 4565650"/>
                    <a:gd name="connsiteX53" fmla="*/ 1369026 w 4578351"/>
                    <a:gd name="connsiteY53" fmla="*/ 3101379 h 4565650"/>
                    <a:gd name="connsiteX54" fmla="*/ 1372002 w 4578351"/>
                    <a:gd name="connsiteY54" fmla="*/ 3104355 h 4565650"/>
                    <a:gd name="connsiteX55" fmla="*/ 1374978 w 4578351"/>
                    <a:gd name="connsiteY55" fmla="*/ 3107331 h 4565650"/>
                    <a:gd name="connsiteX56" fmla="*/ 1386882 w 4578351"/>
                    <a:gd name="connsiteY56" fmla="*/ 3116260 h 4565650"/>
                    <a:gd name="connsiteX57" fmla="*/ 1389859 w 4578351"/>
                    <a:gd name="connsiteY57" fmla="*/ 3119236 h 4565650"/>
                    <a:gd name="connsiteX58" fmla="*/ 1389859 w 4578351"/>
                    <a:gd name="connsiteY58" fmla="*/ 3122212 h 4565650"/>
                    <a:gd name="connsiteX59" fmla="*/ 1392835 w 4578351"/>
                    <a:gd name="connsiteY59" fmla="*/ 3128164 h 4565650"/>
                    <a:gd name="connsiteX60" fmla="*/ 1395811 w 4578351"/>
                    <a:gd name="connsiteY60" fmla="*/ 3134117 h 4565650"/>
                    <a:gd name="connsiteX61" fmla="*/ 1398787 w 4578351"/>
                    <a:gd name="connsiteY61" fmla="*/ 3140069 h 4565650"/>
                    <a:gd name="connsiteX62" fmla="*/ 1398787 w 4578351"/>
                    <a:gd name="connsiteY62" fmla="*/ 3143045 h 4565650"/>
                    <a:gd name="connsiteX63" fmla="*/ 1401763 w 4578351"/>
                    <a:gd name="connsiteY63" fmla="*/ 3148997 h 4565650"/>
                    <a:gd name="connsiteX64" fmla="*/ 1401763 w 4578351"/>
                    <a:gd name="connsiteY64" fmla="*/ 3151973 h 4565650"/>
                    <a:gd name="connsiteX65" fmla="*/ 1401763 w 4578351"/>
                    <a:gd name="connsiteY65" fmla="*/ 3157926 h 4565650"/>
                    <a:gd name="connsiteX66" fmla="*/ 1401763 w 4578351"/>
                    <a:gd name="connsiteY66" fmla="*/ 3160902 h 4565650"/>
                    <a:gd name="connsiteX67" fmla="*/ 1383906 w 4578351"/>
                    <a:gd name="connsiteY67" fmla="*/ 3550779 h 4565650"/>
                    <a:gd name="connsiteX68" fmla="*/ 1315455 w 4578351"/>
                    <a:gd name="connsiteY68" fmla="*/ 3613279 h 4565650"/>
                    <a:gd name="connsiteX69" fmla="*/ 1252956 w 4578351"/>
                    <a:gd name="connsiteY69" fmla="*/ 3544827 h 4565650"/>
                    <a:gd name="connsiteX70" fmla="*/ 1261885 w 4578351"/>
                    <a:gd name="connsiteY70" fmla="*/ 3339472 h 4565650"/>
                    <a:gd name="connsiteX71" fmla="*/ 758916 w 4578351"/>
                    <a:gd name="connsiteY71" fmla="*/ 3898990 h 4565650"/>
                    <a:gd name="connsiteX72" fmla="*/ 839272 w 4578351"/>
                    <a:gd name="connsiteY72" fmla="*/ 4146011 h 4565650"/>
                    <a:gd name="connsiteX73" fmla="*/ 419636 w 4578351"/>
                    <a:gd name="connsiteY73" fmla="*/ 4565650 h 4565650"/>
                    <a:gd name="connsiteX74" fmla="*/ 0 w 4578351"/>
                    <a:gd name="connsiteY74" fmla="*/ 4146011 h 4565650"/>
                    <a:gd name="connsiteX75" fmla="*/ 419636 w 4578351"/>
                    <a:gd name="connsiteY75" fmla="*/ 3726373 h 4565650"/>
                    <a:gd name="connsiteX76" fmla="*/ 666656 w 4578351"/>
                    <a:gd name="connsiteY76" fmla="*/ 3803753 h 4565650"/>
                    <a:gd name="connsiteX77" fmla="*/ 1169624 w 4578351"/>
                    <a:gd name="connsiteY77" fmla="*/ 3247211 h 4565650"/>
                    <a:gd name="connsiteX78" fmla="*/ 949390 w 4578351"/>
                    <a:gd name="connsiteY78" fmla="*/ 3276972 h 4565650"/>
                    <a:gd name="connsiteX79" fmla="*/ 874986 w 4578351"/>
                    <a:gd name="connsiteY79" fmla="*/ 3220425 h 4565650"/>
                    <a:gd name="connsiteX80" fmla="*/ 931533 w 4578351"/>
                    <a:gd name="connsiteY80" fmla="*/ 3148997 h 4565650"/>
                    <a:gd name="connsiteX81" fmla="*/ 1315455 w 4578351"/>
                    <a:gd name="connsiteY81" fmla="*/ 3092450 h 4565650"/>
                    <a:gd name="connsiteX82" fmla="*/ 2304257 w 4578351"/>
                    <a:gd name="connsiteY82" fmla="*/ 1339849 h 4565650"/>
                    <a:gd name="connsiteX83" fmla="*/ 1346200 w 4578351"/>
                    <a:gd name="connsiteY83" fmla="*/ 2294731 h 4565650"/>
                    <a:gd name="connsiteX84" fmla="*/ 2304257 w 4578351"/>
                    <a:gd name="connsiteY84" fmla="*/ 3249613 h 4565650"/>
                    <a:gd name="connsiteX85" fmla="*/ 3262314 w 4578351"/>
                    <a:gd name="connsiteY85" fmla="*/ 2294731 h 4565650"/>
                    <a:gd name="connsiteX86" fmla="*/ 2304257 w 4578351"/>
                    <a:gd name="connsiteY86" fmla="*/ 1339849 h 4565650"/>
                    <a:gd name="connsiteX87" fmla="*/ 2305050 w 4578351"/>
                    <a:gd name="connsiteY87" fmla="*/ 1220787 h 4565650"/>
                    <a:gd name="connsiteX88" fmla="*/ 3378200 w 4578351"/>
                    <a:gd name="connsiteY88" fmla="*/ 2296319 h 4565650"/>
                    <a:gd name="connsiteX89" fmla="*/ 2305050 w 4578351"/>
                    <a:gd name="connsiteY89" fmla="*/ 3371851 h 4565650"/>
                    <a:gd name="connsiteX90" fmla="*/ 1231900 w 4578351"/>
                    <a:gd name="connsiteY90" fmla="*/ 2296319 h 4565650"/>
                    <a:gd name="connsiteX91" fmla="*/ 2305050 w 4578351"/>
                    <a:gd name="connsiteY91" fmla="*/ 1220787 h 4565650"/>
                    <a:gd name="connsiteX92" fmla="*/ 4152900 w 4578351"/>
                    <a:gd name="connsiteY92" fmla="*/ 128588 h 4565650"/>
                    <a:gd name="connsiteX93" fmla="*/ 3860800 w 4578351"/>
                    <a:gd name="connsiteY93" fmla="*/ 419895 h 4565650"/>
                    <a:gd name="connsiteX94" fmla="*/ 4152900 w 4578351"/>
                    <a:gd name="connsiteY94" fmla="*/ 711202 h 4565650"/>
                    <a:gd name="connsiteX95" fmla="*/ 4445000 w 4578351"/>
                    <a:gd name="connsiteY95" fmla="*/ 419895 h 4565650"/>
                    <a:gd name="connsiteX96" fmla="*/ 4152900 w 4578351"/>
                    <a:gd name="connsiteY96" fmla="*/ 128588 h 4565650"/>
                    <a:gd name="connsiteX97" fmla="*/ 413545 w 4578351"/>
                    <a:gd name="connsiteY97" fmla="*/ 128588 h 4565650"/>
                    <a:gd name="connsiteX98" fmla="*/ 115888 w 4578351"/>
                    <a:gd name="connsiteY98" fmla="*/ 419895 h 4565650"/>
                    <a:gd name="connsiteX99" fmla="*/ 413545 w 4578351"/>
                    <a:gd name="connsiteY99" fmla="*/ 711202 h 4565650"/>
                    <a:gd name="connsiteX100" fmla="*/ 711202 w 4578351"/>
                    <a:gd name="connsiteY100" fmla="*/ 419895 h 4565650"/>
                    <a:gd name="connsiteX101" fmla="*/ 413545 w 4578351"/>
                    <a:gd name="connsiteY101" fmla="*/ 128588 h 4565650"/>
                    <a:gd name="connsiteX102" fmla="*/ 4158715 w 4578351"/>
                    <a:gd name="connsiteY102" fmla="*/ 0 h 4565650"/>
                    <a:gd name="connsiteX103" fmla="*/ 4578351 w 4578351"/>
                    <a:gd name="connsiteY103" fmla="*/ 419639 h 4565650"/>
                    <a:gd name="connsiteX104" fmla="*/ 4158715 w 4578351"/>
                    <a:gd name="connsiteY104" fmla="*/ 839278 h 4565650"/>
                    <a:gd name="connsiteX105" fmla="*/ 3911695 w 4578351"/>
                    <a:gd name="connsiteY105" fmla="*/ 758921 h 4565650"/>
                    <a:gd name="connsiteX106" fmla="*/ 3408727 w 4578351"/>
                    <a:gd name="connsiteY106" fmla="*/ 1318440 h 4565650"/>
                    <a:gd name="connsiteX107" fmla="*/ 3628962 w 4578351"/>
                    <a:gd name="connsiteY107" fmla="*/ 1285702 h 4565650"/>
                    <a:gd name="connsiteX108" fmla="*/ 3703365 w 4578351"/>
                    <a:gd name="connsiteY108" fmla="*/ 1342249 h 4565650"/>
                    <a:gd name="connsiteX109" fmla="*/ 3646819 w 4578351"/>
                    <a:gd name="connsiteY109" fmla="*/ 1416653 h 4565650"/>
                    <a:gd name="connsiteX110" fmla="*/ 3262896 w 4578351"/>
                    <a:gd name="connsiteY110" fmla="*/ 1470224 h 4565650"/>
                    <a:gd name="connsiteX111" fmla="*/ 3253968 w 4578351"/>
                    <a:gd name="connsiteY111" fmla="*/ 1473200 h 4565650"/>
                    <a:gd name="connsiteX112" fmla="*/ 3239087 w 4578351"/>
                    <a:gd name="connsiteY112" fmla="*/ 1470224 h 4565650"/>
                    <a:gd name="connsiteX113" fmla="*/ 3233135 w 4578351"/>
                    <a:gd name="connsiteY113" fmla="*/ 1470224 h 4565650"/>
                    <a:gd name="connsiteX114" fmla="*/ 3230159 w 4578351"/>
                    <a:gd name="connsiteY114" fmla="*/ 1470224 h 4565650"/>
                    <a:gd name="connsiteX115" fmla="*/ 3227183 w 4578351"/>
                    <a:gd name="connsiteY115" fmla="*/ 1467248 h 4565650"/>
                    <a:gd name="connsiteX116" fmla="*/ 3221230 w 4578351"/>
                    <a:gd name="connsiteY116" fmla="*/ 1467248 h 4565650"/>
                    <a:gd name="connsiteX117" fmla="*/ 3219232 w 4578351"/>
                    <a:gd name="connsiteY117" fmla="*/ 1466249 h 4565650"/>
                    <a:gd name="connsiteX118" fmla="*/ 3209326 w 4578351"/>
                    <a:gd name="connsiteY118" fmla="*/ 1461296 h 4565650"/>
                    <a:gd name="connsiteX119" fmla="*/ 3206350 w 4578351"/>
                    <a:gd name="connsiteY119" fmla="*/ 1461296 h 4565650"/>
                    <a:gd name="connsiteX120" fmla="*/ 3203374 w 4578351"/>
                    <a:gd name="connsiteY120" fmla="*/ 1458319 h 4565650"/>
                    <a:gd name="connsiteX121" fmla="*/ 3191469 w 4578351"/>
                    <a:gd name="connsiteY121" fmla="*/ 1446415 h 4565650"/>
                    <a:gd name="connsiteX122" fmla="*/ 3188493 w 4578351"/>
                    <a:gd name="connsiteY122" fmla="*/ 1443439 h 4565650"/>
                    <a:gd name="connsiteX123" fmla="*/ 3185517 w 4578351"/>
                    <a:gd name="connsiteY123" fmla="*/ 1437486 h 4565650"/>
                    <a:gd name="connsiteX124" fmla="*/ 3182541 w 4578351"/>
                    <a:gd name="connsiteY124" fmla="*/ 1431534 h 4565650"/>
                    <a:gd name="connsiteX125" fmla="*/ 3179564 w 4578351"/>
                    <a:gd name="connsiteY125" fmla="*/ 1422605 h 4565650"/>
                    <a:gd name="connsiteX126" fmla="*/ 3176588 w 4578351"/>
                    <a:gd name="connsiteY126" fmla="*/ 1413677 h 4565650"/>
                    <a:gd name="connsiteX127" fmla="*/ 3176588 w 4578351"/>
                    <a:gd name="connsiteY127" fmla="*/ 1404748 h 4565650"/>
                    <a:gd name="connsiteX128" fmla="*/ 3176588 w 4578351"/>
                    <a:gd name="connsiteY128" fmla="*/ 1401772 h 4565650"/>
                    <a:gd name="connsiteX129" fmla="*/ 3194445 w 4578351"/>
                    <a:gd name="connsiteY129" fmla="*/ 1014871 h 4565650"/>
                    <a:gd name="connsiteX130" fmla="*/ 3262896 w 4578351"/>
                    <a:gd name="connsiteY130" fmla="*/ 952372 h 4565650"/>
                    <a:gd name="connsiteX131" fmla="*/ 3325395 w 4578351"/>
                    <a:gd name="connsiteY131" fmla="*/ 1020824 h 4565650"/>
                    <a:gd name="connsiteX132" fmla="*/ 3316467 w 4578351"/>
                    <a:gd name="connsiteY132" fmla="*/ 1226179 h 4565650"/>
                    <a:gd name="connsiteX133" fmla="*/ 3819435 w 4578351"/>
                    <a:gd name="connsiteY133" fmla="*/ 666660 h 4565650"/>
                    <a:gd name="connsiteX134" fmla="*/ 3739079 w 4578351"/>
                    <a:gd name="connsiteY134" fmla="*/ 419639 h 4565650"/>
                    <a:gd name="connsiteX135" fmla="*/ 4158715 w 4578351"/>
                    <a:gd name="connsiteY135" fmla="*/ 0 h 4565650"/>
                    <a:gd name="connsiteX136" fmla="*/ 419636 w 4578351"/>
                    <a:gd name="connsiteY136" fmla="*/ 0 h 4565650"/>
                    <a:gd name="connsiteX137" fmla="*/ 839272 w 4578351"/>
                    <a:gd name="connsiteY137" fmla="*/ 419639 h 4565650"/>
                    <a:gd name="connsiteX138" fmla="*/ 758916 w 4578351"/>
                    <a:gd name="connsiteY138" fmla="*/ 666660 h 4565650"/>
                    <a:gd name="connsiteX139" fmla="*/ 1261885 w 4578351"/>
                    <a:gd name="connsiteY139" fmla="*/ 1226179 h 4565650"/>
                    <a:gd name="connsiteX140" fmla="*/ 1252956 w 4578351"/>
                    <a:gd name="connsiteY140" fmla="*/ 1020824 h 4565650"/>
                    <a:gd name="connsiteX141" fmla="*/ 1315455 w 4578351"/>
                    <a:gd name="connsiteY141" fmla="*/ 952372 h 4565650"/>
                    <a:gd name="connsiteX142" fmla="*/ 1383906 w 4578351"/>
                    <a:gd name="connsiteY142" fmla="*/ 1014871 h 4565650"/>
                    <a:gd name="connsiteX143" fmla="*/ 1401763 w 4578351"/>
                    <a:gd name="connsiteY143" fmla="*/ 1401772 h 4565650"/>
                    <a:gd name="connsiteX144" fmla="*/ 1401763 w 4578351"/>
                    <a:gd name="connsiteY144" fmla="*/ 1404748 h 4565650"/>
                    <a:gd name="connsiteX145" fmla="*/ 1401763 w 4578351"/>
                    <a:gd name="connsiteY145" fmla="*/ 1413677 h 4565650"/>
                    <a:gd name="connsiteX146" fmla="*/ 1398787 w 4578351"/>
                    <a:gd name="connsiteY146" fmla="*/ 1422605 h 4565650"/>
                    <a:gd name="connsiteX147" fmla="*/ 1395811 w 4578351"/>
                    <a:gd name="connsiteY147" fmla="*/ 1431534 h 4565650"/>
                    <a:gd name="connsiteX148" fmla="*/ 1392835 w 4578351"/>
                    <a:gd name="connsiteY148" fmla="*/ 1437486 h 4565650"/>
                    <a:gd name="connsiteX149" fmla="*/ 1389859 w 4578351"/>
                    <a:gd name="connsiteY149" fmla="*/ 1443439 h 4565650"/>
                    <a:gd name="connsiteX150" fmla="*/ 1386882 w 4578351"/>
                    <a:gd name="connsiteY150" fmla="*/ 1446415 h 4565650"/>
                    <a:gd name="connsiteX151" fmla="*/ 1374978 w 4578351"/>
                    <a:gd name="connsiteY151" fmla="*/ 1458319 h 4565650"/>
                    <a:gd name="connsiteX152" fmla="*/ 1372002 w 4578351"/>
                    <a:gd name="connsiteY152" fmla="*/ 1461296 h 4565650"/>
                    <a:gd name="connsiteX153" fmla="*/ 1369026 w 4578351"/>
                    <a:gd name="connsiteY153" fmla="*/ 1461296 h 4565650"/>
                    <a:gd name="connsiteX154" fmla="*/ 1357121 w 4578351"/>
                    <a:gd name="connsiteY154" fmla="*/ 1467248 h 4565650"/>
                    <a:gd name="connsiteX155" fmla="*/ 1351169 w 4578351"/>
                    <a:gd name="connsiteY155" fmla="*/ 1467248 h 4565650"/>
                    <a:gd name="connsiteX156" fmla="*/ 1348193 w 4578351"/>
                    <a:gd name="connsiteY156" fmla="*/ 1470224 h 4565650"/>
                    <a:gd name="connsiteX157" fmla="*/ 1345216 w 4578351"/>
                    <a:gd name="connsiteY157" fmla="*/ 1470224 h 4565650"/>
                    <a:gd name="connsiteX158" fmla="*/ 1339264 w 4578351"/>
                    <a:gd name="connsiteY158" fmla="*/ 1470224 h 4565650"/>
                    <a:gd name="connsiteX159" fmla="*/ 1324383 w 4578351"/>
                    <a:gd name="connsiteY159" fmla="*/ 1473200 h 4565650"/>
                    <a:gd name="connsiteX160" fmla="*/ 1315455 w 4578351"/>
                    <a:gd name="connsiteY160" fmla="*/ 1470224 h 4565650"/>
                    <a:gd name="connsiteX161" fmla="*/ 931533 w 4578351"/>
                    <a:gd name="connsiteY161" fmla="*/ 1416653 h 4565650"/>
                    <a:gd name="connsiteX162" fmla="*/ 874986 w 4578351"/>
                    <a:gd name="connsiteY162" fmla="*/ 1342249 h 4565650"/>
                    <a:gd name="connsiteX163" fmla="*/ 949390 w 4578351"/>
                    <a:gd name="connsiteY163" fmla="*/ 1285702 h 4565650"/>
                    <a:gd name="connsiteX164" fmla="*/ 1169624 w 4578351"/>
                    <a:gd name="connsiteY164" fmla="*/ 1318440 h 4565650"/>
                    <a:gd name="connsiteX165" fmla="*/ 666656 w 4578351"/>
                    <a:gd name="connsiteY165" fmla="*/ 758921 h 4565650"/>
                    <a:gd name="connsiteX166" fmla="*/ 419636 w 4578351"/>
                    <a:gd name="connsiteY166" fmla="*/ 839278 h 4565650"/>
                    <a:gd name="connsiteX167" fmla="*/ 0 w 4578351"/>
                    <a:gd name="connsiteY167" fmla="*/ 419639 h 4565650"/>
                    <a:gd name="connsiteX168" fmla="*/ 419636 w 4578351"/>
                    <a:gd name="connsiteY168" fmla="*/ 0 h 4565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</a:cxnLst>
                  <a:rect l="l" t="t" r="r" b="b"/>
                  <a:pathLst>
                    <a:path w="4578351" h="4565650">
                      <a:moveTo>
                        <a:pt x="4152900" y="3848100"/>
                      </a:moveTo>
                      <a:cubicBezTo>
                        <a:pt x="3991578" y="3848100"/>
                        <a:pt x="3860800" y="3980299"/>
                        <a:pt x="3860800" y="4143375"/>
                      </a:cubicBezTo>
                      <a:cubicBezTo>
                        <a:pt x="3860800" y="4306451"/>
                        <a:pt x="3991578" y="4438650"/>
                        <a:pt x="4152900" y="4438650"/>
                      </a:cubicBezTo>
                      <a:cubicBezTo>
                        <a:pt x="4314222" y="4438650"/>
                        <a:pt x="4445000" y="4306451"/>
                        <a:pt x="4445000" y="4143375"/>
                      </a:cubicBezTo>
                      <a:cubicBezTo>
                        <a:pt x="4445000" y="3980299"/>
                        <a:pt x="4314222" y="3848100"/>
                        <a:pt x="4152900" y="3848100"/>
                      </a:cubicBezTo>
                      <a:close/>
                      <a:moveTo>
                        <a:pt x="413545" y="3848100"/>
                      </a:moveTo>
                      <a:cubicBezTo>
                        <a:pt x="249154" y="3848100"/>
                        <a:pt x="115888" y="3980299"/>
                        <a:pt x="115888" y="4143375"/>
                      </a:cubicBezTo>
                      <a:cubicBezTo>
                        <a:pt x="115888" y="4306451"/>
                        <a:pt x="249154" y="4438650"/>
                        <a:pt x="413545" y="4438650"/>
                      </a:cubicBezTo>
                      <a:cubicBezTo>
                        <a:pt x="577936" y="4438650"/>
                        <a:pt x="711202" y="4306451"/>
                        <a:pt x="711202" y="4143375"/>
                      </a:cubicBezTo>
                      <a:cubicBezTo>
                        <a:pt x="711202" y="3980299"/>
                        <a:pt x="577936" y="3848100"/>
                        <a:pt x="413545" y="3848100"/>
                      </a:cubicBezTo>
                      <a:close/>
                      <a:moveTo>
                        <a:pt x="3239087" y="3092450"/>
                      </a:moveTo>
                      <a:cubicBezTo>
                        <a:pt x="3242063" y="3092450"/>
                        <a:pt x="3248016" y="3092450"/>
                        <a:pt x="3253968" y="3092450"/>
                      </a:cubicBezTo>
                      <a:cubicBezTo>
                        <a:pt x="3256944" y="3092450"/>
                        <a:pt x="3259920" y="3092450"/>
                        <a:pt x="3262896" y="3092450"/>
                      </a:cubicBezTo>
                      <a:cubicBezTo>
                        <a:pt x="3262896" y="3092450"/>
                        <a:pt x="3262896" y="3092450"/>
                        <a:pt x="3646819" y="3148997"/>
                      </a:cubicBezTo>
                      <a:cubicBezTo>
                        <a:pt x="3682532" y="3151973"/>
                        <a:pt x="3706342" y="3184711"/>
                        <a:pt x="3703365" y="3220425"/>
                      </a:cubicBezTo>
                      <a:cubicBezTo>
                        <a:pt x="3697413" y="3256139"/>
                        <a:pt x="3664676" y="3282925"/>
                        <a:pt x="3628962" y="3276972"/>
                      </a:cubicBezTo>
                      <a:cubicBezTo>
                        <a:pt x="3628962" y="3276972"/>
                        <a:pt x="3628962" y="3276972"/>
                        <a:pt x="3408727" y="3247211"/>
                      </a:cubicBezTo>
                      <a:cubicBezTo>
                        <a:pt x="3408727" y="3247211"/>
                        <a:pt x="3408727" y="3247211"/>
                        <a:pt x="3911695" y="3803753"/>
                      </a:cubicBezTo>
                      <a:cubicBezTo>
                        <a:pt x="3980147" y="3756134"/>
                        <a:pt x="4066455" y="3726373"/>
                        <a:pt x="4158715" y="3726373"/>
                      </a:cubicBezTo>
                      <a:cubicBezTo>
                        <a:pt x="4387878" y="3726373"/>
                        <a:pt x="4578351" y="3913871"/>
                        <a:pt x="4578351" y="4146011"/>
                      </a:cubicBezTo>
                      <a:cubicBezTo>
                        <a:pt x="4578351" y="4375176"/>
                        <a:pt x="4387878" y="4565650"/>
                        <a:pt x="4158715" y="4565650"/>
                      </a:cubicBezTo>
                      <a:cubicBezTo>
                        <a:pt x="3926576" y="4565650"/>
                        <a:pt x="3739079" y="4375176"/>
                        <a:pt x="3739079" y="4146011"/>
                      </a:cubicBezTo>
                      <a:cubicBezTo>
                        <a:pt x="3739079" y="4053750"/>
                        <a:pt x="3768841" y="3967442"/>
                        <a:pt x="3819435" y="3898990"/>
                      </a:cubicBezTo>
                      <a:cubicBezTo>
                        <a:pt x="3819435" y="3898990"/>
                        <a:pt x="3819435" y="3898990"/>
                        <a:pt x="3316467" y="3339472"/>
                      </a:cubicBezTo>
                      <a:cubicBezTo>
                        <a:pt x="3316467" y="3339472"/>
                        <a:pt x="3316467" y="3339472"/>
                        <a:pt x="3325395" y="3544827"/>
                      </a:cubicBezTo>
                      <a:cubicBezTo>
                        <a:pt x="3328371" y="3580541"/>
                        <a:pt x="3298610" y="3610302"/>
                        <a:pt x="3262896" y="3613279"/>
                      </a:cubicBezTo>
                      <a:cubicBezTo>
                        <a:pt x="3227183" y="3613279"/>
                        <a:pt x="3197421" y="3586493"/>
                        <a:pt x="3194445" y="3550779"/>
                      </a:cubicBezTo>
                      <a:cubicBezTo>
                        <a:pt x="3194445" y="3550779"/>
                        <a:pt x="3194445" y="3550779"/>
                        <a:pt x="3176588" y="3160902"/>
                      </a:cubicBezTo>
                      <a:cubicBezTo>
                        <a:pt x="3176588" y="3160902"/>
                        <a:pt x="3176588" y="3160902"/>
                        <a:pt x="3176588" y="3157926"/>
                      </a:cubicBezTo>
                      <a:cubicBezTo>
                        <a:pt x="3176588" y="3157926"/>
                        <a:pt x="3176588" y="3154950"/>
                        <a:pt x="3176588" y="3151973"/>
                      </a:cubicBezTo>
                      <a:cubicBezTo>
                        <a:pt x="3176588" y="3151973"/>
                        <a:pt x="3176588" y="3151973"/>
                        <a:pt x="3176588" y="3148997"/>
                      </a:cubicBezTo>
                      <a:cubicBezTo>
                        <a:pt x="3176588" y="3148997"/>
                        <a:pt x="3176588" y="3146021"/>
                        <a:pt x="3179564" y="3143045"/>
                      </a:cubicBezTo>
                      <a:cubicBezTo>
                        <a:pt x="3179564" y="3143045"/>
                        <a:pt x="3179564" y="3143045"/>
                        <a:pt x="3179564" y="3140069"/>
                      </a:cubicBezTo>
                      <a:cubicBezTo>
                        <a:pt x="3179564" y="3137093"/>
                        <a:pt x="3179564" y="3137093"/>
                        <a:pt x="3182541" y="3134117"/>
                      </a:cubicBezTo>
                      <a:cubicBezTo>
                        <a:pt x="3182541" y="3131140"/>
                        <a:pt x="3182541" y="3128164"/>
                        <a:pt x="3185517" y="3128164"/>
                      </a:cubicBezTo>
                      <a:cubicBezTo>
                        <a:pt x="3185517" y="3125188"/>
                        <a:pt x="3185517" y="3125188"/>
                        <a:pt x="3188493" y="3122212"/>
                      </a:cubicBezTo>
                      <a:cubicBezTo>
                        <a:pt x="3188493" y="3122212"/>
                        <a:pt x="3188493" y="3122212"/>
                        <a:pt x="3188493" y="3119236"/>
                      </a:cubicBezTo>
                      <a:cubicBezTo>
                        <a:pt x="3191469" y="3119236"/>
                        <a:pt x="3191469" y="3119236"/>
                        <a:pt x="3191469" y="3116260"/>
                      </a:cubicBezTo>
                      <a:cubicBezTo>
                        <a:pt x="3194445" y="3113283"/>
                        <a:pt x="3197421" y="3110307"/>
                        <a:pt x="3203374" y="3107331"/>
                      </a:cubicBezTo>
                      <a:cubicBezTo>
                        <a:pt x="3203374" y="3104355"/>
                        <a:pt x="3206350" y="3104355"/>
                        <a:pt x="3206350" y="3104355"/>
                      </a:cubicBezTo>
                      <a:cubicBezTo>
                        <a:pt x="3206350" y="3104355"/>
                        <a:pt x="3209326" y="3104355"/>
                        <a:pt x="3209326" y="3101379"/>
                      </a:cubicBezTo>
                      <a:cubicBezTo>
                        <a:pt x="3212302" y="3101379"/>
                        <a:pt x="3215278" y="3098403"/>
                        <a:pt x="3221230" y="3098403"/>
                      </a:cubicBezTo>
                      <a:cubicBezTo>
                        <a:pt x="3221230" y="3095426"/>
                        <a:pt x="3224207" y="3095426"/>
                        <a:pt x="3227183" y="3095426"/>
                      </a:cubicBezTo>
                      <a:cubicBezTo>
                        <a:pt x="3227183" y="3095426"/>
                        <a:pt x="3227183" y="3095426"/>
                        <a:pt x="3230159" y="3095426"/>
                      </a:cubicBezTo>
                      <a:cubicBezTo>
                        <a:pt x="3233135" y="3095426"/>
                        <a:pt x="3233135" y="3095426"/>
                        <a:pt x="3233135" y="3095426"/>
                      </a:cubicBezTo>
                      <a:cubicBezTo>
                        <a:pt x="3236111" y="3095426"/>
                        <a:pt x="3236111" y="3095426"/>
                        <a:pt x="3239087" y="3092450"/>
                      </a:cubicBezTo>
                      <a:close/>
                      <a:moveTo>
                        <a:pt x="1315455" y="3092450"/>
                      </a:moveTo>
                      <a:cubicBezTo>
                        <a:pt x="1318431" y="3092450"/>
                        <a:pt x="1321407" y="3092450"/>
                        <a:pt x="1324383" y="3092450"/>
                      </a:cubicBezTo>
                      <a:cubicBezTo>
                        <a:pt x="1330336" y="3092450"/>
                        <a:pt x="1336288" y="3092450"/>
                        <a:pt x="1339264" y="3092450"/>
                      </a:cubicBezTo>
                      <a:cubicBezTo>
                        <a:pt x="1342240" y="3095426"/>
                        <a:pt x="1342240" y="3095426"/>
                        <a:pt x="1345216" y="3095426"/>
                      </a:cubicBezTo>
                      <a:cubicBezTo>
                        <a:pt x="1345216" y="3095426"/>
                        <a:pt x="1345216" y="3095426"/>
                        <a:pt x="1348193" y="3095426"/>
                      </a:cubicBezTo>
                      <a:cubicBezTo>
                        <a:pt x="1348193" y="3095426"/>
                        <a:pt x="1348193" y="3095426"/>
                        <a:pt x="1351169" y="3095426"/>
                      </a:cubicBezTo>
                      <a:cubicBezTo>
                        <a:pt x="1354145" y="3095426"/>
                        <a:pt x="1357121" y="3095426"/>
                        <a:pt x="1357121" y="3098403"/>
                      </a:cubicBezTo>
                      <a:cubicBezTo>
                        <a:pt x="1363073" y="3098403"/>
                        <a:pt x="1366049" y="3101379"/>
                        <a:pt x="1369026" y="3101379"/>
                      </a:cubicBezTo>
                      <a:cubicBezTo>
                        <a:pt x="1372002" y="3104355"/>
                        <a:pt x="1372002" y="3104355"/>
                        <a:pt x="1372002" y="3104355"/>
                      </a:cubicBezTo>
                      <a:cubicBezTo>
                        <a:pt x="1372002" y="3104355"/>
                        <a:pt x="1374978" y="3104355"/>
                        <a:pt x="1374978" y="3107331"/>
                      </a:cubicBezTo>
                      <a:cubicBezTo>
                        <a:pt x="1380930" y="3110307"/>
                        <a:pt x="1383906" y="3113283"/>
                        <a:pt x="1386882" y="3116260"/>
                      </a:cubicBezTo>
                      <a:cubicBezTo>
                        <a:pt x="1386882" y="3119236"/>
                        <a:pt x="1389859" y="3119236"/>
                        <a:pt x="1389859" y="3119236"/>
                      </a:cubicBezTo>
                      <a:cubicBezTo>
                        <a:pt x="1389859" y="3122212"/>
                        <a:pt x="1389859" y="3122212"/>
                        <a:pt x="1389859" y="3122212"/>
                      </a:cubicBezTo>
                      <a:cubicBezTo>
                        <a:pt x="1392835" y="3125188"/>
                        <a:pt x="1392835" y="3125188"/>
                        <a:pt x="1392835" y="3128164"/>
                      </a:cubicBezTo>
                      <a:cubicBezTo>
                        <a:pt x="1395811" y="3128164"/>
                        <a:pt x="1395811" y="3131140"/>
                        <a:pt x="1395811" y="3134117"/>
                      </a:cubicBezTo>
                      <a:cubicBezTo>
                        <a:pt x="1398787" y="3137093"/>
                        <a:pt x="1398787" y="3137093"/>
                        <a:pt x="1398787" y="3140069"/>
                      </a:cubicBezTo>
                      <a:cubicBezTo>
                        <a:pt x="1398787" y="3143045"/>
                        <a:pt x="1398787" y="3143045"/>
                        <a:pt x="1398787" y="3143045"/>
                      </a:cubicBezTo>
                      <a:cubicBezTo>
                        <a:pt x="1401763" y="3146021"/>
                        <a:pt x="1401763" y="3148997"/>
                        <a:pt x="1401763" y="3148997"/>
                      </a:cubicBezTo>
                      <a:cubicBezTo>
                        <a:pt x="1401763" y="3151973"/>
                        <a:pt x="1401763" y="3151973"/>
                        <a:pt x="1401763" y="3151973"/>
                      </a:cubicBezTo>
                      <a:cubicBezTo>
                        <a:pt x="1401763" y="3154950"/>
                        <a:pt x="1401763" y="3157926"/>
                        <a:pt x="1401763" y="3157926"/>
                      </a:cubicBezTo>
                      <a:cubicBezTo>
                        <a:pt x="1401763" y="3157926"/>
                        <a:pt x="1401763" y="3157926"/>
                        <a:pt x="1401763" y="3160902"/>
                      </a:cubicBezTo>
                      <a:cubicBezTo>
                        <a:pt x="1401763" y="3160902"/>
                        <a:pt x="1401763" y="3160902"/>
                        <a:pt x="1383906" y="3550779"/>
                      </a:cubicBezTo>
                      <a:cubicBezTo>
                        <a:pt x="1380930" y="3586493"/>
                        <a:pt x="1351169" y="3613279"/>
                        <a:pt x="1315455" y="3613279"/>
                      </a:cubicBezTo>
                      <a:cubicBezTo>
                        <a:pt x="1279741" y="3610302"/>
                        <a:pt x="1249980" y="3580541"/>
                        <a:pt x="1252956" y="3544827"/>
                      </a:cubicBezTo>
                      <a:cubicBezTo>
                        <a:pt x="1252956" y="3544827"/>
                        <a:pt x="1252956" y="3544827"/>
                        <a:pt x="1261885" y="3339472"/>
                      </a:cubicBezTo>
                      <a:cubicBezTo>
                        <a:pt x="1261885" y="3339472"/>
                        <a:pt x="1261885" y="3339472"/>
                        <a:pt x="758916" y="3898990"/>
                      </a:cubicBezTo>
                      <a:cubicBezTo>
                        <a:pt x="809511" y="3967442"/>
                        <a:pt x="839272" y="4053750"/>
                        <a:pt x="839272" y="4146011"/>
                      </a:cubicBezTo>
                      <a:cubicBezTo>
                        <a:pt x="839272" y="4375176"/>
                        <a:pt x="651775" y="4565650"/>
                        <a:pt x="419636" y="4565650"/>
                      </a:cubicBezTo>
                      <a:cubicBezTo>
                        <a:pt x="190473" y="4565650"/>
                        <a:pt x="0" y="4375176"/>
                        <a:pt x="0" y="4146011"/>
                      </a:cubicBezTo>
                      <a:cubicBezTo>
                        <a:pt x="0" y="3913871"/>
                        <a:pt x="190473" y="3726373"/>
                        <a:pt x="419636" y="3726373"/>
                      </a:cubicBezTo>
                      <a:cubicBezTo>
                        <a:pt x="511897" y="3726373"/>
                        <a:pt x="598205" y="3756134"/>
                        <a:pt x="666656" y="3803753"/>
                      </a:cubicBezTo>
                      <a:cubicBezTo>
                        <a:pt x="666656" y="3803753"/>
                        <a:pt x="666656" y="3803753"/>
                        <a:pt x="1169624" y="3247211"/>
                      </a:cubicBezTo>
                      <a:cubicBezTo>
                        <a:pt x="1169624" y="3247211"/>
                        <a:pt x="1169624" y="3247211"/>
                        <a:pt x="949390" y="3276972"/>
                      </a:cubicBezTo>
                      <a:cubicBezTo>
                        <a:pt x="913676" y="3282925"/>
                        <a:pt x="880938" y="3256139"/>
                        <a:pt x="874986" y="3220425"/>
                      </a:cubicBezTo>
                      <a:cubicBezTo>
                        <a:pt x="872010" y="3184711"/>
                        <a:pt x="895819" y="3151973"/>
                        <a:pt x="931533" y="3148997"/>
                      </a:cubicBezTo>
                      <a:cubicBezTo>
                        <a:pt x="931533" y="3148997"/>
                        <a:pt x="931533" y="3148997"/>
                        <a:pt x="1315455" y="3092450"/>
                      </a:cubicBezTo>
                      <a:close/>
                      <a:moveTo>
                        <a:pt x="2304257" y="1339849"/>
                      </a:moveTo>
                      <a:cubicBezTo>
                        <a:pt x="1775137" y="1339849"/>
                        <a:pt x="1346200" y="1767364"/>
                        <a:pt x="1346200" y="2294731"/>
                      </a:cubicBezTo>
                      <a:cubicBezTo>
                        <a:pt x="1346200" y="2822098"/>
                        <a:pt x="1775137" y="3249613"/>
                        <a:pt x="2304257" y="3249613"/>
                      </a:cubicBezTo>
                      <a:cubicBezTo>
                        <a:pt x="2833377" y="3249613"/>
                        <a:pt x="3262314" y="2822098"/>
                        <a:pt x="3262314" y="2294731"/>
                      </a:cubicBezTo>
                      <a:cubicBezTo>
                        <a:pt x="3262314" y="1767364"/>
                        <a:pt x="2833377" y="1339849"/>
                        <a:pt x="2304257" y="1339849"/>
                      </a:cubicBezTo>
                      <a:close/>
                      <a:moveTo>
                        <a:pt x="2305050" y="1220787"/>
                      </a:moveTo>
                      <a:cubicBezTo>
                        <a:pt x="2897734" y="1220787"/>
                        <a:pt x="3378200" y="1702319"/>
                        <a:pt x="3378200" y="2296319"/>
                      </a:cubicBezTo>
                      <a:cubicBezTo>
                        <a:pt x="3378200" y="2890319"/>
                        <a:pt x="2897734" y="3371851"/>
                        <a:pt x="2305050" y="3371851"/>
                      </a:cubicBezTo>
                      <a:cubicBezTo>
                        <a:pt x="1712366" y="3371851"/>
                        <a:pt x="1231900" y="2890319"/>
                        <a:pt x="1231900" y="2296319"/>
                      </a:cubicBezTo>
                      <a:cubicBezTo>
                        <a:pt x="1231900" y="1702319"/>
                        <a:pt x="1712366" y="1220787"/>
                        <a:pt x="2305050" y="1220787"/>
                      </a:cubicBezTo>
                      <a:close/>
                      <a:moveTo>
                        <a:pt x="4152900" y="128588"/>
                      </a:moveTo>
                      <a:cubicBezTo>
                        <a:pt x="3991578" y="128588"/>
                        <a:pt x="3860800" y="259011"/>
                        <a:pt x="3860800" y="419895"/>
                      </a:cubicBezTo>
                      <a:cubicBezTo>
                        <a:pt x="3860800" y="580779"/>
                        <a:pt x="3991578" y="711202"/>
                        <a:pt x="4152900" y="711202"/>
                      </a:cubicBezTo>
                      <a:cubicBezTo>
                        <a:pt x="4314222" y="711202"/>
                        <a:pt x="4445000" y="580779"/>
                        <a:pt x="4445000" y="419895"/>
                      </a:cubicBezTo>
                      <a:cubicBezTo>
                        <a:pt x="4445000" y="259011"/>
                        <a:pt x="4314222" y="128588"/>
                        <a:pt x="4152900" y="128588"/>
                      </a:cubicBezTo>
                      <a:close/>
                      <a:moveTo>
                        <a:pt x="413545" y="128588"/>
                      </a:moveTo>
                      <a:cubicBezTo>
                        <a:pt x="249154" y="128588"/>
                        <a:pt x="115888" y="259011"/>
                        <a:pt x="115888" y="419895"/>
                      </a:cubicBezTo>
                      <a:cubicBezTo>
                        <a:pt x="115888" y="580779"/>
                        <a:pt x="249154" y="711202"/>
                        <a:pt x="413545" y="711202"/>
                      </a:cubicBezTo>
                      <a:cubicBezTo>
                        <a:pt x="577936" y="711202"/>
                        <a:pt x="711202" y="580779"/>
                        <a:pt x="711202" y="419895"/>
                      </a:cubicBezTo>
                      <a:cubicBezTo>
                        <a:pt x="711202" y="259011"/>
                        <a:pt x="577936" y="128588"/>
                        <a:pt x="413545" y="128588"/>
                      </a:cubicBezTo>
                      <a:close/>
                      <a:moveTo>
                        <a:pt x="4158715" y="0"/>
                      </a:moveTo>
                      <a:cubicBezTo>
                        <a:pt x="4387878" y="0"/>
                        <a:pt x="4578351" y="187498"/>
                        <a:pt x="4578351" y="419639"/>
                      </a:cubicBezTo>
                      <a:cubicBezTo>
                        <a:pt x="4578351" y="651779"/>
                        <a:pt x="4387878" y="839278"/>
                        <a:pt x="4158715" y="839278"/>
                      </a:cubicBezTo>
                      <a:cubicBezTo>
                        <a:pt x="4066455" y="839278"/>
                        <a:pt x="3980147" y="809516"/>
                        <a:pt x="3911695" y="758921"/>
                      </a:cubicBezTo>
                      <a:cubicBezTo>
                        <a:pt x="3911695" y="758921"/>
                        <a:pt x="3911695" y="758921"/>
                        <a:pt x="3408727" y="1318440"/>
                      </a:cubicBezTo>
                      <a:cubicBezTo>
                        <a:pt x="3408727" y="1318440"/>
                        <a:pt x="3408727" y="1318440"/>
                        <a:pt x="3628962" y="1285702"/>
                      </a:cubicBezTo>
                      <a:cubicBezTo>
                        <a:pt x="3664676" y="1282726"/>
                        <a:pt x="3697413" y="1306535"/>
                        <a:pt x="3703365" y="1342249"/>
                      </a:cubicBezTo>
                      <a:cubicBezTo>
                        <a:pt x="3706342" y="1377963"/>
                        <a:pt x="3682532" y="1410701"/>
                        <a:pt x="3646819" y="1416653"/>
                      </a:cubicBezTo>
                      <a:cubicBezTo>
                        <a:pt x="3646819" y="1416653"/>
                        <a:pt x="3646819" y="1416653"/>
                        <a:pt x="3262896" y="1470224"/>
                      </a:cubicBezTo>
                      <a:cubicBezTo>
                        <a:pt x="3259920" y="1473200"/>
                        <a:pt x="3256944" y="1473200"/>
                        <a:pt x="3253968" y="1473200"/>
                      </a:cubicBezTo>
                      <a:cubicBezTo>
                        <a:pt x="3248016" y="1473200"/>
                        <a:pt x="3242063" y="1470224"/>
                        <a:pt x="3239087" y="1470224"/>
                      </a:cubicBezTo>
                      <a:cubicBezTo>
                        <a:pt x="3236111" y="1470224"/>
                        <a:pt x="3236111" y="1470224"/>
                        <a:pt x="3233135" y="1470224"/>
                      </a:cubicBezTo>
                      <a:cubicBezTo>
                        <a:pt x="3233135" y="1470224"/>
                        <a:pt x="3233135" y="1470224"/>
                        <a:pt x="3230159" y="1470224"/>
                      </a:cubicBezTo>
                      <a:cubicBezTo>
                        <a:pt x="3230159" y="1470224"/>
                        <a:pt x="3227183" y="1470224"/>
                        <a:pt x="3227183" y="1467248"/>
                      </a:cubicBezTo>
                      <a:cubicBezTo>
                        <a:pt x="3224207" y="1467248"/>
                        <a:pt x="3221230" y="1467248"/>
                        <a:pt x="3221230" y="1467248"/>
                      </a:cubicBezTo>
                      <a:lnTo>
                        <a:pt x="3219232" y="1466249"/>
                      </a:lnTo>
                      <a:lnTo>
                        <a:pt x="3209326" y="1461296"/>
                      </a:lnTo>
                      <a:cubicBezTo>
                        <a:pt x="3209326" y="1461296"/>
                        <a:pt x="3209326" y="1461296"/>
                        <a:pt x="3206350" y="1461296"/>
                      </a:cubicBezTo>
                      <a:cubicBezTo>
                        <a:pt x="3206350" y="1458319"/>
                        <a:pt x="3203374" y="1458319"/>
                        <a:pt x="3203374" y="1458319"/>
                      </a:cubicBezTo>
                      <a:cubicBezTo>
                        <a:pt x="3197421" y="1455343"/>
                        <a:pt x="3194445" y="1452367"/>
                        <a:pt x="3191469" y="1446415"/>
                      </a:cubicBezTo>
                      <a:cubicBezTo>
                        <a:pt x="3191469" y="1446415"/>
                        <a:pt x="3191469" y="1446415"/>
                        <a:pt x="3188493" y="1443439"/>
                      </a:cubicBezTo>
                      <a:cubicBezTo>
                        <a:pt x="3185517" y="1440462"/>
                        <a:pt x="3185517" y="1440462"/>
                        <a:pt x="3185517" y="1437486"/>
                      </a:cubicBezTo>
                      <a:cubicBezTo>
                        <a:pt x="3182541" y="1434510"/>
                        <a:pt x="3182541" y="1434510"/>
                        <a:pt x="3182541" y="1431534"/>
                      </a:cubicBezTo>
                      <a:cubicBezTo>
                        <a:pt x="3179564" y="1428558"/>
                        <a:pt x="3179564" y="1425582"/>
                        <a:pt x="3179564" y="1422605"/>
                      </a:cubicBezTo>
                      <a:cubicBezTo>
                        <a:pt x="3176588" y="1419629"/>
                        <a:pt x="3176588" y="1416653"/>
                        <a:pt x="3176588" y="1413677"/>
                      </a:cubicBezTo>
                      <a:cubicBezTo>
                        <a:pt x="3176588" y="1410701"/>
                        <a:pt x="3176588" y="1407725"/>
                        <a:pt x="3176588" y="1404748"/>
                      </a:cubicBezTo>
                      <a:cubicBezTo>
                        <a:pt x="3176588" y="1404748"/>
                        <a:pt x="3176588" y="1404748"/>
                        <a:pt x="3176588" y="1401772"/>
                      </a:cubicBezTo>
                      <a:cubicBezTo>
                        <a:pt x="3176588" y="1401772"/>
                        <a:pt x="3176588" y="1401772"/>
                        <a:pt x="3194445" y="1014871"/>
                      </a:cubicBezTo>
                      <a:cubicBezTo>
                        <a:pt x="3197421" y="979157"/>
                        <a:pt x="3227183" y="949396"/>
                        <a:pt x="3262896" y="952372"/>
                      </a:cubicBezTo>
                      <a:cubicBezTo>
                        <a:pt x="3298610" y="955348"/>
                        <a:pt x="3328371" y="985110"/>
                        <a:pt x="3325395" y="1020824"/>
                      </a:cubicBezTo>
                      <a:cubicBezTo>
                        <a:pt x="3325395" y="1020824"/>
                        <a:pt x="3325395" y="1020824"/>
                        <a:pt x="3316467" y="1226179"/>
                      </a:cubicBezTo>
                      <a:cubicBezTo>
                        <a:pt x="3316467" y="1226179"/>
                        <a:pt x="3316467" y="1226179"/>
                        <a:pt x="3819435" y="666660"/>
                      </a:cubicBezTo>
                      <a:cubicBezTo>
                        <a:pt x="3768841" y="598209"/>
                        <a:pt x="3739079" y="511900"/>
                        <a:pt x="3739079" y="419639"/>
                      </a:cubicBezTo>
                      <a:cubicBezTo>
                        <a:pt x="3739079" y="187498"/>
                        <a:pt x="3926576" y="0"/>
                        <a:pt x="4158715" y="0"/>
                      </a:cubicBezTo>
                      <a:close/>
                      <a:moveTo>
                        <a:pt x="419636" y="0"/>
                      </a:moveTo>
                      <a:cubicBezTo>
                        <a:pt x="651775" y="0"/>
                        <a:pt x="839272" y="187498"/>
                        <a:pt x="839272" y="419639"/>
                      </a:cubicBezTo>
                      <a:cubicBezTo>
                        <a:pt x="839272" y="511900"/>
                        <a:pt x="809511" y="598209"/>
                        <a:pt x="758916" y="666660"/>
                      </a:cubicBezTo>
                      <a:cubicBezTo>
                        <a:pt x="758916" y="666660"/>
                        <a:pt x="758916" y="666660"/>
                        <a:pt x="1261885" y="1226179"/>
                      </a:cubicBezTo>
                      <a:cubicBezTo>
                        <a:pt x="1261885" y="1226179"/>
                        <a:pt x="1261885" y="1226179"/>
                        <a:pt x="1252956" y="1020824"/>
                      </a:cubicBezTo>
                      <a:cubicBezTo>
                        <a:pt x="1249980" y="985110"/>
                        <a:pt x="1279741" y="955348"/>
                        <a:pt x="1315455" y="952372"/>
                      </a:cubicBezTo>
                      <a:cubicBezTo>
                        <a:pt x="1351169" y="949396"/>
                        <a:pt x="1380930" y="979157"/>
                        <a:pt x="1383906" y="1014871"/>
                      </a:cubicBezTo>
                      <a:cubicBezTo>
                        <a:pt x="1383906" y="1014871"/>
                        <a:pt x="1383906" y="1014871"/>
                        <a:pt x="1401763" y="1401772"/>
                      </a:cubicBezTo>
                      <a:cubicBezTo>
                        <a:pt x="1401763" y="1401772"/>
                        <a:pt x="1401763" y="1401772"/>
                        <a:pt x="1401763" y="1404748"/>
                      </a:cubicBezTo>
                      <a:cubicBezTo>
                        <a:pt x="1401763" y="1407725"/>
                        <a:pt x="1401763" y="1410701"/>
                        <a:pt x="1401763" y="1413677"/>
                      </a:cubicBezTo>
                      <a:cubicBezTo>
                        <a:pt x="1401763" y="1416653"/>
                        <a:pt x="1401763" y="1419629"/>
                        <a:pt x="1398787" y="1422605"/>
                      </a:cubicBezTo>
                      <a:cubicBezTo>
                        <a:pt x="1398787" y="1425582"/>
                        <a:pt x="1398787" y="1428558"/>
                        <a:pt x="1395811" y="1431534"/>
                      </a:cubicBezTo>
                      <a:cubicBezTo>
                        <a:pt x="1395811" y="1434510"/>
                        <a:pt x="1395811" y="1434510"/>
                        <a:pt x="1392835" y="1437486"/>
                      </a:cubicBezTo>
                      <a:cubicBezTo>
                        <a:pt x="1392835" y="1440462"/>
                        <a:pt x="1392835" y="1440462"/>
                        <a:pt x="1389859" y="1443439"/>
                      </a:cubicBezTo>
                      <a:cubicBezTo>
                        <a:pt x="1389859" y="1446415"/>
                        <a:pt x="1386882" y="1446415"/>
                        <a:pt x="1386882" y="1446415"/>
                      </a:cubicBezTo>
                      <a:cubicBezTo>
                        <a:pt x="1383906" y="1452367"/>
                        <a:pt x="1380930" y="1455343"/>
                        <a:pt x="1374978" y="1458319"/>
                      </a:cubicBezTo>
                      <a:cubicBezTo>
                        <a:pt x="1374978" y="1458319"/>
                        <a:pt x="1372002" y="1458319"/>
                        <a:pt x="1372002" y="1461296"/>
                      </a:cubicBezTo>
                      <a:cubicBezTo>
                        <a:pt x="1372002" y="1461296"/>
                        <a:pt x="1372002" y="1461296"/>
                        <a:pt x="1369026" y="1461296"/>
                      </a:cubicBezTo>
                      <a:cubicBezTo>
                        <a:pt x="1366049" y="1464272"/>
                        <a:pt x="1363073" y="1464272"/>
                        <a:pt x="1357121" y="1467248"/>
                      </a:cubicBezTo>
                      <a:cubicBezTo>
                        <a:pt x="1357121" y="1467248"/>
                        <a:pt x="1354145" y="1467248"/>
                        <a:pt x="1351169" y="1467248"/>
                      </a:cubicBezTo>
                      <a:cubicBezTo>
                        <a:pt x="1351169" y="1470224"/>
                        <a:pt x="1348193" y="1470224"/>
                        <a:pt x="1348193" y="1470224"/>
                      </a:cubicBezTo>
                      <a:cubicBezTo>
                        <a:pt x="1345216" y="1470224"/>
                        <a:pt x="1345216" y="1470224"/>
                        <a:pt x="1345216" y="1470224"/>
                      </a:cubicBezTo>
                      <a:cubicBezTo>
                        <a:pt x="1342240" y="1470224"/>
                        <a:pt x="1342240" y="1470224"/>
                        <a:pt x="1339264" y="1470224"/>
                      </a:cubicBezTo>
                      <a:cubicBezTo>
                        <a:pt x="1336288" y="1470224"/>
                        <a:pt x="1330336" y="1473200"/>
                        <a:pt x="1324383" y="1473200"/>
                      </a:cubicBezTo>
                      <a:cubicBezTo>
                        <a:pt x="1321407" y="1473200"/>
                        <a:pt x="1318431" y="1473200"/>
                        <a:pt x="1315455" y="1470224"/>
                      </a:cubicBezTo>
                      <a:cubicBezTo>
                        <a:pt x="1315455" y="1470224"/>
                        <a:pt x="1315455" y="1470224"/>
                        <a:pt x="931533" y="1416653"/>
                      </a:cubicBezTo>
                      <a:cubicBezTo>
                        <a:pt x="895819" y="1410701"/>
                        <a:pt x="872010" y="1377963"/>
                        <a:pt x="874986" y="1342249"/>
                      </a:cubicBezTo>
                      <a:cubicBezTo>
                        <a:pt x="880938" y="1306535"/>
                        <a:pt x="913676" y="1282726"/>
                        <a:pt x="949390" y="1285702"/>
                      </a:cubicBezTo>
                      <a:cubicBezTo>
                        <a:pt x="949390" y="1285702"/>
                        <a:pt x="949390" y="1285702"/>
                        <a:pt x="1169624" y="1318440"/>
                      </a:cubicBezTo>
                      <a:cubicBezTo>
                        <a:pt x="1169624" y="1318440"/>
                        <a:pt x="1169624" y="1318440"/>
                        <a:pt x="666656" y="758921"/>
                      </a:cubicBezTo>
                      <a:cubicBezTo>
                        <a:pt x="598205" y="809516"/>
                        <a:pt x="511897" y="839278"/>
                        <a:pt x="419636" y="839278"/>
                      </a:cubicBezTo>
                      <a:cubicBezTo>
                        <a:pt x="190473" y="839278"/>
                        <a:pt x="0" y="651779"/>
                        <a:pt x="0" y="419639"/>
                      </a:cubicBezTo>
                      <a:cubicBezTo>
                        <a:pt x="0" y="187498"/>
                        <a:pt x="190473" y="0"/>
                        <a:pt x="419636" y="0"/>
                      </a:cubicBezTo>
                      <a:close/>
                    </a:path>
                  </a:pathLst>
                </a:custGeom>
                <a:solidFill>
                  <a:srgbClr val="6E6F73"/>
                </a:solidFill>
                <a:ln>
                  <a:noFill/>
                </a:ln>
              </p:spPr>
              <p:txBody>
                <a:bodyPr vert="horz" wrap="square" lIns="47402" tIns="23701" rIns="47402" bIns="2370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4" name="Freeform 63"/>
                <p:cNvSpPr>
                  <a:spLocks noChangeArrowheads="1"/>
                </p:cNvSpPr>
                <p:nvPr/>
              </p:nvSpPr>
              <p:spPr bwMode="auto">
                <a:xfrm>
                  <a:off x="4030663" y="1377950"/>
                  <a:ext cx="4113213" cy="4095750"/>
                </a:xfrm>
                <a:custGeom>
                  <a:avLst/>
                  <a:gdLst>
                    <a:gd name="connsiteX0" fmla="*/ 3929062 w 4113212"/>
                    <a:gd name="connsiteY0" fmla="*/ 3721100 h 4095750"/>
                    <a:gd name="connsiteX1" fmla="*/ 4113212 w 4113212"/>
                    <a:gd name="connsiteY1" fmla="*/ 3908425 h 4095750"/>
                    <a:gd name="connsiteX2" fmla="*/ 3929062 w 4113212"/>
                    <a:gd name="connsiteY2" fmla="*/ 4095750 h 4095750"/>
                    <a:gd name="connsiteX3" fmla="*/ 3744912 w 4113212"/>
                    <a:gd name="connsiteY3" fmla="*/ 3908425 h 4095750"/>
                    <a:gd name="connsiteX4" fmla="*/ 3929062 w 4113212"/>
                    <a:gd name="connsiteY4" fmla="*/ 3721100 h 4095750"/>
                    <a:gd name="connsiteX5" fmla="*/ 190500 w 4113212"/>
                    <a:gd name="connsiteY5" fmla="*/ 3721100 h 4095750"/>
                    <a:gd name="connsiteX6" fmla="*/ 381000 w 4113212"/>
                    <a:gd name="connsiteY6" fmla="*/ 3908425 h 4095750"/>
                    <a:gd name="connsiteX7" fmla="*/ 190500 w 4113212"/>
                    <a:gd name="connsiteY7" fmla="*/ 4095750 h 4095750"/>
                    <a:gd name="connsiteX8" fmla="*/ 0 w 4113212"/>
                    <a:gd name="connsiteY8" fmla="*/ 3908425 h 4095750"/>
                    <a:gd name="connsiteX9" fmla="*/ 190500 w 4113212"/>
                    <a:gd name="connsiteY9" fmla="*/ 3721100 h 4095750"/>
                    <a:gd name="connsiteX10" fmla="*/ 2080419 w 4113212"/>
                    <a:gd name="connsiteY10" fmla="*/ 1211263 h 4095750"/>
                    <a:gd name="connsiteX11" fmla="*/ 2932113 w 4113212"/>
                    <a:gd name="connsiteY11" fmla="*/ 2059782 h 4095750"/>
                    <a:gd name="connsiteX12" fmla="*/ 2080419 w 4113212"/>
                    <a:gd name="connsiteY12" fmla="*/ 2908301 h 4095750"/>
                    <a:gd name="connsiteX13" fmla="*/ 1228725 w 4113212"/>
                    <a:gd name="connsiteY13" fmla="*/ 2059782 h 4095750"/>
                    <a:gd name="connsiteX14" fmla="*/ 2080419 w 4113212"/>
                    <a:gd name="connsiteY14" fmla="*/ 1211263 h 4095750"/>
                    <a:gd name="connsiteX15" fmla="*/ 3929062 w 4113212"/>
                    <a:gd name="connsiteY15" fmla="*/ 0 h 4095750"/>
                    <a:gd name="connsiteX16" fmla="*/ 4113212 w 4113212"/>
                    <a:gd name="connsiteY16" fmla="*/ 184944 h 4095750"/>
                    <a:gd name="connsiteX17" fmla="*/ 3929062 w 4113212"/>
                    <a:gd name="connsiteY17" fmla="*/ 369888 h 4095750"/>
                    <a:gd name="connsiteX18" fmla="*/ 3744912 w 4113212"/>
                    <a:gd name="connsiteY18" fmla="*/ 184944 h 4095750"/>
                    <a:gd name="connsiteX19" fmla="*/ 3929062 w 4113212"/>
                    <a:gd name="connsiteY19" fmla="*/ 0 h 4095750"/>
                    <a:gd name="connsiteX20" fmla="*/ 190500 w 4113212"/>
                    <a:gd name="connsiteY20" fmla="*/ 0 h 4095750"/>
                    <a:gd name="connsiteX21" fmla="*/ 381000 w 4113212"/>
                    <a:gd name="connsiteY21" fmla="*/ 184944 h 4095750"/>
                    <a:gd name="connsiteX22" fmla="*/ 190500 w 4113212"/>
                    <a:gd name="connsiteY22" fmla="*/ 369888 h 4095750"/>
                    <a:gd name="connsiteX23" fmla="*/ 0 w 4113212"/>
                    <a:gd name="connsiteY23" fmla="*/ 184944 h 4095750"/>
                    <a:gd name="connsiteX24" fmla="*/ 190500 w 4113212"/>
                    <a:gd name="connsiteY24" fmla="*/ 0 h 4095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4113212" h="4095750">
                      <a:moveTo>
                        <a:pt x="3929062" y="3721100"/>
                      </a:moveTo>
                      <a:cubicBezTo>
                        <a:pt x="4030765" y="3721100"/>
                        <a:pt x="4113212" y="3804968"/>
                        <a:pt x="4113212" y="3908425"/>
                      </a:cubicBezTo>
                      <a:cubicBezTo>
                        <a:pt x="4113212" y="4011882"/>
                        <a:pt x="4030765" y="4095750"/>
                        <a:pt x="3929062" y="4095750"/>
                      </a:cubicBezTo>
                      <a:cubicBezTo>
                        <a:pt x="3827359" y="4095750"/>
                        <a:pt x="3744912" y="4011882"/>
                        <a:pt x="3744912" y="3908425"/>
                      </a:cubicBezTo>
                      <a:cubicBezTo>
                        <a:pt x="3744912" y="3804968"/>
                        <a:pt x="3827359" y="3721100"/>
                        <a:pt x="3929062" y="3721100"/>
                      </a:cubicBezTo>
                      <a:close/>
                      <a:moveTo>
                        <a:pt x="190500" y="3721100"/>
                      </a:moveTo>
                      <a:cubicBezTo>
                        <a:pt x="295710" y="3721100"/>
                        <a:pt x="381000" y="3804968"/>
                        <a:pt x="381000" y="3908425"/>
                      </a:cubicBezTo>
                      <a:cubicBezTo>
                        <a:pt x="381000" y="4011882"/>
                        <a:pt x="295710" y="4095750"/>
                        <a:pt x="190500" y="4095750"/>
                      </a:cubicBezTo>
                      <a:cubicBezTo>
                        <a:pt x="85290" y="4095750"/>
                        <a:pt x="0" y="4011882"/>
                        <a:pt x="0" y="3908425"/>
                      </a:cubicBezTo>
                      <a:cubicBezTo>
                        <a:pt x="0" y="3804968"/>
                        <a:pt x="85290" y="3721100"/>
                        <a:pt x="190500" y="3721100"/>
                      </a:cubicBezTo>
                      <a:close/>
                      <a:moveTo>
                        <a:pt x="2080419" y="1211263"/>
                      </a:moveTo>
                      <a:cubicBezTo>
                        <a:pt x="2550797" y="1211263"/>
                        <a:pt x="2932113" y="1591158"/>
                        <a:pt x="2932113" y="2059782"/>
                      </a:cubicBezTo>
                      <a:cubicBezTo>
                        <a:pt x="2932113" y="2528406"/>
                        <a:pt x="2550797" y="2908301"/>
                        <a:pt x="2080419" y="2908301"/>
                      </a:cubicBezTo>
                      <a:cubicBezTo>
                        <a:pt x="1610041" y="2908301"/>
                        <a:pt x="1228725" y="2528406"/>
                        <a:pt x="1228725" y="2059782"/>
                      </a:cubicBezTo>
                      <a:cubicBezTo>
                        <a:pt x="1228725" y="1591158"/>
                        <a:pt x="1610041" y="1211263"/>
                        <a:pt x="2080419" y="1211263"/>
                      </a:cubicBezTo>
                      <a:close/>
                      <a:moveTo>
                        <a:pt x="3929062" y="0"/>
                      </a:moveTo>
                      <a:cubicBezTo>
                        <a:pt x="4030765" y="0"/>
                        <a:pt x="4113212" y="82802"/>
                        <a:pt x="4113212" y="184944"/>
                      </a:cubicBezTo>
                      <a:cubicBezTo>
                        <a:pt x="4113212" y="287086"/>
                        <a:pt x="4030765" y="369888"/>
                        <a:pt x="3929062" y="369888"/>
                      </a:cubicBezTo>
                      <a:cubicBezTo>
                        <a:pt x="3827359" y="369888"/>
                        <a:pt x="3744912" y="287086"/>
                        <a:pt x="3744912" y="184944"/>
                      </a:cubicBezTo>
                      <a:cubicBezTo>
                        <a:pt x="3744912" y="82802"/>
                        <a:pt x="3827359" y="0"/>
                        <a:pt x="3929062" y="0"/>
                      </a:cubicBezTo>
                      <a:close/>
                      <a:moveTo>
                        <a:pt x="190500" y="0"/>
                      </a:moveTo>
                      <a:cubicBezTo>
                        <a:pt x="295710" y="0"/>
                        <a:pt x="381000" y="82802"/>
                        <a:pt x="381000" y="184944"/>
                      </a:cubicBezTo>
                      <a:cubicBezTo>
                        <a:pt x="381000" y="287086"/>
                        <a:pt x="295710" y="369888"/>
                        <a:pt x="190500" y="369888"/>
                      </a:cubicBezTo>
                      <a:cubicBezTo>
                        <a:pt x="85290" y="369888"/>
                        <a:pt x="0" y="287086"/>
                        <a:pt x="0" y="184944"/>
                      </a:cubicBezTo>
                      <a:cubicBezTo>
                        <a:pt x="0" y="82802"/>
                        <a:pt x="85290" y="0"/>
                        <a:pt x="190500" y="0"/>
                      </a:cubicBezTo>
                      <a:close/>
                    </a:path>
                  </a:pathLst>
                </a:custGeom>
                <a:solidFill>
                  <a:srgbClr val="98A6CC"/>
                </a:solidFill>
                <a:ln>
                  <a:noFill/>
                </a:ln>
              </p:spPr>
              <p:txBody>
                <a:bodyPr vert="horz" wrap="square" lIns="47402" tIns="23701" rIns="47402" bIns="2370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" name="TextBox 2"/>
          <p:cNvSpPr txBox="1"/>
          <p:nvPr/>
        </p:nvSpPr>
        <p:spPr>
          <a:xfrm>
            <a:off x="5781368" y="2640801"/>
            <a:ext cx="5775631" cy="11079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324000" lvl="1" indent="-216000">
              <a:buClr>
                <a:srgbClr val="595959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Обеспечение юридической значимости данных в </a:t>
            </a:r>
            <a:r>
              <a:rPr lang="ru-RU" sz="120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Национальном каталоге за счет использования ЭЦП при передаче данных</a:t>
            </a:r>
            <a:endParaRPr lang="ru-RU" sz="1200" dirty="0">
              <a:solidFill>
                <a:srgbClr val="595959">
                  <a:lumMod val="100000"/>
                </a:srgbClr>
              </a:solidFill>
              <a:latin typeface="PT Sans Caption" panose="020B0603020203020204" pitchFamily="34" charset="-52"/>
            </a:endParaRPr>
          </a:p>
          <a:p>
            <a:pPr marL="324000" lvl="1" indent="-216000">
              <a:buClr>
                <a:srgbClr val="595959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Отдельный реестр сертификатов соответствия, синхронизированный с реестром товаров</a:t>
            </a:r>
          </a:p>
          <a:p>
            <a:pPr marL="324000" lvl="1" indent="-216000">
              <a:buClr>
                <a:srgbClr val="595959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Используется единый классификатор товаров с набором согласованных с бизнесом атрибутов</a:t>
            </a:r>
          </a:p>
        </p:txBody>
      </p:sp>
      <p:cxnSp>
        <p:nvCxnSpPr>
          <p:cNvPr id="107" name="Straight Connector 106"/>
          <p:cNvCxnSpPr/>
          <p:nvPr/>
        </p:nvCxnSpPr>
        <p:spPr>
          <a:xfrm>
            <a:off x="5466551" y="2633599"/>
            <a:ext cx="0" cy="1152000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541324" y="4080073"/>
            <a:ext cx="3706647" cy="8617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400" b="1" dirty="0">
                <a:solidFill>
                  <a:schemeClr val="tx1"/>
                </a:solidFill>
              </a:rPr>
              <a:t>Единая платформа </a:t>
            </a:r>
            <a:r>
              <a:rPr lang="ru-RU" sz="1400" dirty="0">
                <a:solidFill>
                  <a:schemeClr val="tx1"/>
                </a:solidFill>
              </a:rPr>
              <a:t>по поддержке актуальных и достоверных данных о товарах и связанных с ними документах для участников рынка и госорганов</a:t>
            </a: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81368" y="3826157"/>
            <a:ext cx="5775631" cy="136960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rgbClr val="595959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Непрерывный информационный обмен – об изменении статуса в атрибуте поставщика узнают все связанные участники</a:t>
            </a:r>
          </a:p>
          <a:p>
            <a:pPr marL="324000" lvl="1" indent="-216000">
              <a:buClr>
                <a:srgbClr val="595959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Товарная позиция автоматически привязывается к существующим классификаторам </a:t>
            </a:r>
            <a:r>
              <a:rPr lang="ru-RU" sz="1200" dirty="0" err="1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ТН</a:t>
            </a: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 </a:t>
            </a:r>
            <a:r>
              <a:rPr lang="ru-RU" sz="1200" dirty="0" err="1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ВЭД</a:t>
            </a: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, ОКПД2, </a:t>
            </a:r>
            <a:r>
              <a:rPr lang="ru-RU" sz="1200" dirty="0" err="1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КТРУ</a:t>
            </a:r>
            <a:endParaRPr lang="ru-RU" sz="1200" dirty="0">
              <a:solidFill>
                <a:srgbClr val="595959">
                  <a:lumMod val="100000"/>
                </a:srgbClr>
              </a:solidFill>
              <a:latin typeface="PT Sans Caption" panose="020B0603020203020204" pitchFamily="34" charset="-52"/>
            </a:endParaRPr>
          </a:p>
          <a:p>
            <a:pPr marL="324000" lvl="1" indent="-216000">
              <a:buClr>
                <a:srgbClr val="595959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 err="1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API</a:t>
            </a: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</a:rPr>
              <a:t>- функционал, аналитика и отчеты</a:t>
            </a:r>
            <a:endParaRPr lang="en-US" sz="1200" dirty="0" err="1">
              <a:solidFill>
                <a:srgbClr val="595959">
                  <a:lumMod val="100000"/>
                </a:srgbClr>
              </a:solidFill>
              <a:latin typeface="PT Sans Caption" panose="020B0603020203020204" pitchFamily="34" charset="-52"/>
            </a:endParaRPr>
          </a:p>
        </p:txBody>
      </p:sp>
      <p:grpSp>
        <p:nvGrpSpPr>
          <p:cNvPr id="85" name="bcgBugs_PCMonitorMicrosite"/>
          <p:cNvGrpSpPr>
            <a:grpSpLocks noChangeAspect="1"/>
          </p:cNvGrpSpPr>
          <p:nvPr/>
        </p:nvGrpSpPr>
        <p:grpSpPr bwMode="auto">
          <a:xfrm>
            <a:off x="705459" y="4155442"/>
            <a:ext cx="710342" cy="711036"/>
            <a:chOff x="2818" y="1137"/>
            <a:chExt cx="2044" cy="2046"/>
          </a:xfrm>
        </p:grpSpPr>
        <p:sp>
          <p:nvSpPr>
            <p:cNvPr id="86" name="AutoShape 7"/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9"/>
            <p:cNvSpPr>
              <a:spLocks noEditPoints="1"/>
            </p:cNvSpPr>
            <p:nvPr/>
          </p:nvSpPr>
          <p:spPr bwMode="auto">
            <a:xfrm>
              <a:off x="2941" y="1381"/>
              <a:ext cx="1800" cy="1573"/>
            </a:xfrm>
            <a:custGeom>
              <a:avLst/>
              <a:gdLst>
                <a:gd name="T0" fmla="*/ 858 w 880"/>
                <a:gd name="T1" fmla="*/ 0 h 768"/>
                <a:gd name="T2" fmla="*/ 22 w 880"/>
                <a:gd name="T3" fmla="*/ 0 h 768"/>
                <a:gd name="T4" fmla="*/ 0 w 880"/>
                <a:gd name="T5" fmla="*/ 22 h 768"/>
                <a:gd name="T6" fmla="*/ 0 w 880"/>
                <a:gd name="T7" fmla="*/ 617 h 768"/>
                <a:gd name="T8" fmla="*/ 22 w 880"/>
                <a:gd name="T9" fmla="*/ 639 h 768"/>
                <a:gd name="T10" fmla="*/ 337 w 880"/>
                <a:gd name="T11" fmla="*/ 639 h 768"/>
                <a:gd name="T12" fmla="*/ 337 w 880"/>
                <a:gd name="T13" fmla="*/ 724 h 768"/>
                <a:gd name="T14" fmla="*/ 276 w 880"/>
                <a:gd name="T15" fmla="*/ 724 h 768"/>
                <a:gd name="T16" fmla="*/ 254 w 880"/>
                <a:gd name="T17" fmla="*/ 746 h 768"/>
                <a:gd name="T18" fmla="*/ 276 w 880"/>
                <a:gd name="T19" fmla="*/ 768 h 768"/>
                <a:gd name="T20" fmla="*/ 604 w 880"/>
                <a:gd name="T21" fmla="*/ 768 h 768"/>
                <a:gd name="T22" fmla="*/ 626 w 880"/>
                <a:gd name="T23" fmla="*/ 746 h 768"/>
                <a:gd name="T24" fmla="*/ 604 w 880"/>
                <a:gd name="T25" fmla="*/ 724 h 768"/>
                <a:gd name="T26" fmla="*/ 543 w 880"/>
                <a:gd name="T27" fmla="*/ 724 h 768"/>
                <a:gd name="T28" fmla="*/ 543 w 880"/>
                <a:gd name="T29" fmla="*/ 639 h 768"/>
                <a:gd name="T30" fmla="*/ 858 w 880"/>
                <a:gd name="T31" fmla="*/ 639 h 768"/>
                <a:gd name="T32" fmla="*/ 880 w 880"/>
                <a:gd name="T33" fmla="*/ 617 h 768"/>
                <a:gd name="T34" fmla="*/ 880 w 880"/>
                <a:gd name="T35" fmla="*/ 22 h 768"/>
                <a:gd name="T36" fmla="*/ 858 w 880"/>
                <a:gd name="T37" fmla="*/ 0 h 768"/>
                <a:gd name="T38" fmla="*/ 440 w 880"/>
                <a:gd name="T39" fmla="*/ 597 h 768"/>
                <a:gd name="T40" fmla="*/ 405 w 880"/>
                <a:gd name="T41" fmla="*/ 562 h 768"/>
                <a:gd name="T42" fmla="*/ 440 w 880"/>
                <a:gd name="T43" fmla="*/ 526 h 768"/>
                <a:gd name="T44" fmla="*/ 475 w 880"/>
                <a:gd name="T45" fmla="*/ 562 h 768"/>
                <a:gd name="T46" fmla="*/ 440 w 880"/>
                <a:gd name="T47" fmla="*/ 597 h 768"/>
                <a:gd name="T48" fmla="*/ 820 w 880"/>
                <a:gd name="T49" fmla="*/ 487 h 768"/>
                <a:gd name="T50" fmla="*/ 810 w 880"/>
                <a:gd name="T51" fmla="*/ 497 h 768"/>
                <a:gd name="T52" fmla="*/ 70 w 880"/>
                <a:gd name="T53" fmla="*/ 497 h 768"/>
                <a:gd name="T54" fmla="*/ 60 w 880"/>
                <a:gd name="T55" fmla="*/ 487 h 768"/>
                <a:gd name="T56" fmla="*/ 60 w 880"/>
                <a:gd name="T57" fmla="*/ 72 h 768"/>
                <a:gd name="T58" fmla="*/ 70 w 880"/>
                <a:gd name="T59" fmla="*/ 62 h 768"/>
                <a:gd name="T60" fmla="*/ 810 w 880"/>
                <a:gd name="T61" fmla="*/ 62 h 768"/>
                <a:gd name="T62" fmla="*/ 820 w 880"/>
                <a:gd name="T63" fmla="*/ 72 h 768"/>
                <a:gd name="T64" fmla="*/ 820 w 880"/>
                <a:gd name="T65" fmla="*/ 487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0" h="768">
                  <a:moveTo>
                    <a:pt x="858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617"/>
                    <a:pt x="0" y="617"/>
                    <a:pt x="0" y="617"/>
                  </a:cubicBezTo>
                  <a:cubicBezTo>
                    <a:pt x="0" y="629"/>
                    <a:pt x="10" y="639"/>
                    <a:pt x="22" y="639"/>
                  </a:cubicBezTo>
                  <a:cubicBezTo>
                    <a:pt x="337" y="639"/>
                    <a:pt x="337" y="639"/>
                    <a:pt x="337" y="639"/>
                  </a:cubicBezTo>
                  <a:cubicBezTo>
                    <a:pt x="337" y="724"/>
                    <a:pt x="337" y="724"/>
                    <a:pt x="337" y="724"/>
                  </a:cubicBezTo>
                  <a:cubicBezTo>
                    <a:pt x="276" y="724"/>
                    <a:pt x="276" y="724"/>
                    <a:pt x="276" y="724"/>
                  </a:cubicBezTo>
                  <a:cubicBezTo>
                    <a:pt x="264" y="724"/>
                    <a:pt x="254" y="733"/>
                    <a:pt x="254" y="746"/>
                  </a:cubicBezTo>
                  <a:cubicBezTo>
                    <a:pt x="254" y="758"/>
                    <a:pt x="264" y="768"/>
                    <a:pt x="276" y="768"/>
                  </a:cubicBezTo>
                  <a:cubicBezTo>
                    <a:pt x="604" y="768"/>
                    <a:pt x="604" y="768"/>
                    <a:pt x="604" y="768"/>
                  </a:cubicBezTo>
                  <a:cubicBezTo>
                    <a:pt x="616" y="768"/>
                    <a:pt x="626" y="758"/>
                    <a:pt x="626" y="746"/>
                  </a:cubicBezTo>
                  <a:cubicBezTo>
                    <a:pt x="626" y="733"/>
                    <a:pt x="616" y="724"/>
                    <a:pt x="604" y="724"/>
                  </a:cubicBezTo>
                  <a:cubicBezTo>
                    <a:pt x="543" y="724"/>
                    <a:pt x="543" y="724"/>
                    <a:pt x="543" y="724"/>
                  </a:cubicBezTo>
                  <a:cubicBezTo>
                    <a:pt x="543" y="639"/>
                    <a:pt x="543" y="639"/>
                    <a:pt x="543" y="639"/>
                  </a:cubicBezTo>
                  <a:cubicBezTo>
                    <a:pt x="858" y="639"/>
                    <a:pt x="858" y="639"/>
                    <a:pt x="858" y="639"/>
                  </a:cubicBezTo>
                  <a:cubicBezTo>
                    <a:pt x="870" y="639"/>
                    <a:pt x="880" y="629"/>
                    <a:pt x="880" y="617"/>
                  </a:cubicBezTo>
                  <a:cubicBezTo>
                    <a:pt x="880" y="22"/>
                    <a:pt x="880" y="22"/>
                    <a:pt x="880" y="22"/>
                  </a:cubicBezTo>
                  <a:cubicBezTo>
                    <a:pt x="880" y="10"/>
                    <a:pt x="870" y="0"/>
                    <a:pt x="858" y="0"/>
                  </a:cubicBezTo>
                  <a:close/>
                  <a:moveTo>
                    <a:pt x="440" y="597"/>
                  </a:moveTo>
                  <a:cubicBezTo>
                    <a:pt x="421" y="597"/>
                    <a:pt x="405" y="581"/>
                    <a:pt x="405" y="562"/>
                  </a:cubicBezTo>
                  <a:cubicBezTo>
                    <a:pt x="405" y="542"/>
                    <a:pt x="421" y="526"/>
                    <a:pt x="440" y="526"/>
                  </a:cubicBezTo>
                  <a:cubicBezTo>
                    <a:pt x="459" y="526"/>
                    <a:pt x="475" y="542"/>
                    <a:pt x="475" y="562"/>
                  </a:cubicBezTo>
                  <a:cubicBezTo>
                    <a:pt x="475" y="581"/>
                    <a:pt x="459" y="597"/>
                    <a:pt x="440" y="597"/>
                  </a:cubicBezTo>
                  <a:close/>
                  <a:moveTo>
                    <a:pt x="820" y="487"/>
                  </a:moveTo>
                  <a:cubicBezTo>
                    <a:pt x="820" y="492"/>
                    <a:pt x="816" y="497"/>
                    <a:pt x="810" y="497"/>
                  </a:cubicBezTo>
                  <a:cubicBezTo>
                    <a:pt x="70" y="497"/>
                    <a:pt x="70" y="497"/>
                    <a:pt x="70" y="497"/>
                  </a:cubicBezTo>
                  <a:cubicBezTo>
                    <a:pt x="64" y="497"/>
                    <a:pt x="60" y="492"/>
                    <a:pt x="60" y="487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67"/>
                    <a:pt x="64" y="62"/>
                    <a:pt x="70" y="62"/>
                  </a:cubicBezTo>
                  <a:cubicBezTo>
                    <a:pt x="810" y="62"/>
                    <a:pt x="810" y="62"/>
                    <a:pt x="810" y="62"/>
                  </a:cubicBezTo>
                  <a:cubicBezTo>
                    <a:pt x="816" y="62"/>
                    <a:pt x="820" y="67"/>
                    <a:pt x="820" y="72"/>
                  </a:cubicBezTo>
                  <a:lnTo>
                    <a:pt x="820" y="487"/>
                  </a:ln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112" name="Straight Connector 111"/>
          <p:cNvCxnSpPr/>
          <p:nvPr/>
        </p:nvCxnSpPr>
        <p:spPr>
          <a:xfrm>
            <a:off x="5466551" y="4047600"/>
            <a:ext cx="0" cy="972000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>
            <a:grpSpLocks noChangeAspect="1"/>
          </p:cNvGrpSpPr>
          <p:nvPr/>
        </p:nvGrpSpPr>
        <p:grpSpPr>
          <a:xfrm>
            <a:off x="705459" y="5466738"/>
            <a:ext cx="710379" cy="711037"/>
            <a:chOff x="5273801" y="2606040"/>
            <a:chExt cx="1644396" cy="1645919"/>
          </a:xfrm>
        </p:grpSpPr>
        <p:sp>
          <p:nvSpPr>
            <p:cNvPr id="93" name="AutoShape 9">
              <a:extLst>
                <a:ext uri="{FF2B5EF4-FFF2-40B4-BE49-F238E27FC236}">
                  <a16:creationId xmlns:a16="http://schemas.microsoft.com/office/drawing/2014/main" id="{E0D198FC-C2F2-4FED-9034-D826A21FCD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5339333" y="3067431"/>
              <a:ext cx="1509521" cy="930021"/>
              <a:chOff x="5339333" y="3067431"/>
              <a:chExt cx="1509522" cy="930021"/>
            </a:xfrm>
          </p:grpSpPr>
          <p:sp>
            <p:nvSpPr>
              <p:cNvPr id="95" name="Freeform 11">
                <a:extLst>
                  <a:ext uri="{FF2B5EF4-FFF2-40B4-BE49-F238E27FC236}">
                    <a16:creationId xmlns:a16="http://schemas.microsoft.com/office/drawing/2014/main" id="{BF86BFAF-8981-4474-850E-2A9237D57E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9333" y="3067431"/>
                <a:ext cx="1509522" cy="930021"/>
              </a:xfrm>
              <a:custGeom>
                <a:avLst/>
                <a:gdLst>
                  <a:gd name="T0" fmla="*/ 154 w 2115"/>
                  <a:gd name="T1" fmla="*/ 956 h 1302"/>
                  <a:gd name="T2" fmla="*/ 144 w 2115"/>
                  <a:gd name="T3" fmla="*/ 334 h 1302"/>
                  <a:gd name="T4" fmla="*/ 573 w 2115"/>
                  <a:gd name="T5" fmla="*/ 324 h 1302"/>
                  <a:gd name="T6" fmla="*/ 573 w 2115"/>
                  <a:gd name="T7" fmla="*/ 1059 h 1302"/>
                  <a:gd name="T8" fmla="*/ 44 w 2115"/>
                  <a:gd name="T9" fmla="*/ 220 h 1302"/>
                  <a:gd name="T10" fmla="*/ 573 w 2115"/>
                  <a:gd name="T11" fmla="*/ 180 h 1302"/>
                  <a:gd name="T12" fmla="*/ 22 w 2115"/>
                  <a:gd name="T13" fmla="*/ 176 h 1302"/>
                  <a:gd name="T14" fmla="*/ 0 w 2115"/>
                  <a:gd name="T15" fmla="*/ 1081 h 1302"/>
                  <a:gd name="T16" fmla="*/ 573 w 2115"/>
                  <a:gd name="T17" fmla="*/ 1103 h 1302"/>
                  <a:gd name="T18" fmla="*/ 660 w 2115"/>
                  <a:gd name="T19" fmla="*/ 89 h 1302"/>
                  <a:gd name="T20" fmla="*/ 94 w 2115"/>
                  <a:gd name="T21" fmla="*/ 111 h 1302"/>
                  <a:gd name="T22" fmla="*/ 618 w 2115"/>
                  <a:gd name="T23" fmla="*/ 133 h 1302"/>
                  <a:gd name="T24" fmla="*/ 745 w 2115"/>
                  <a:gd name="T25" fmla="*/ 0 h 1302"/>
                  <a:gd name="T26" fmla="*/ 179 w 2115"/>
                  <a:gd name="T27" fmla="*/ 22 h 1302"/>
                  <a:gd name="T28" fmla="*/ 703 w 2115"/>
                  <a:gd name="T29" fmla="*/ 44 h 1302"/>
                  <a:gd name="T30" fmla="*/ 1882 w 2115"/>
                  <a:gd name="T31" fmla="*/ 948 h 1302"/>
                  <a:gd name="T32" fmla="*/ 1760 w 2115"/>
                  <a:gd name="T33" fmla="*/ 1286 h 1302"/>
                  <a:gd name="T34" fmla="*/ 1452 w 2115"/>
                  <a:gd name="T35" fmla="*/ 1286 h 1302"/>
                  <a:gd name="T36" fmla="*/ 1329 w 2115"/>
                  <a:gd name="T37" fmla="*/ 1168 h 1302"/>
                  <a:gd name="T38" fmla="*/ 1452 w 2115"/>
                  <a:gd name="T39" fmla="*/ 830 h 1302"/>
                  <a:gd name="T40" fmla="*/ 1760 w 2115"/>
                  <a:gd name="T41" fmla="*/ 830 h 1302"/>
                  <a:gd name="T42" fmla="*/ 1882 w 2115"/>
                  <a:gd name="T43" fmla="*/ 948 h 1302"/>
                  <a:gd name="T44" fmla="*/ 1750 w 2115"/>
                  <a:gd name="T45" fmla="*/ 873 h 1302"/>
                  <a:gd name="T46" fmla="*/ 1462 w 2115"/>
                  <a:gd name="T47" fmla="*/ 873 h 1302"/>
                  <a:gd name="T48" fmla="*/ 1373 w 2115"/>
                  <a:gd name="T49" fmla="*/ 1168 h 1302"/>
                  <a:gd name="T50" fmla="*/ 1606 w 2115"/>
                  <a:gd name="T51" fmla="*/ 1258 h 1302"/>
                  <a:gd name="T52" fmla="*/ 1838 w 2115"/>
                  <a:gd name="T53" fmla="*/ 1168 h 1302"/>
                  <a:gd name="T54" fmla="*/ 1728 w 2115"/>
                  <a:gd name="T55" fmla="*/ 325 h 1302"/>
                  <a:gd name="T56" fmla="*/ 1772 w 2115"/>
                  <a:gd name="T57" fmla="*/ 198 h 1302"/>
                  <a:gd name="T58" fmla="*/ 1246 w 2115"/>
                  <a:gd name="T59" fmla="*/ 176 h 1302"/>
                  <a:gd name="T60" fmla="*/ 1209 w 2115"/>
                  <a:gd name="T61" fmla="*/ 220 h 1302"/>
                  <a:gd name="T62" fmla="*/ 1728 w 2115"/>
                  <a:gd name="T63" fmla="*/ 325 h 1302"/>
                  <a:gd name="T64" fmla="*/ 1838 w 2115"/>
                  <a:gd name="T65" fmla="*/ 318 h 1302"/>
                  <a:gd name="T66" fmla="*/ 1866 w 2115"/>
                  <a:gd name="T67" fmla="*/ 111 h 1302"/>
                  <a:gd name="T68" fmla="*/ 1330 w 2115"/>
                  <a:gd name="T69" fmla="*/ 89 h 1302"/>
                  <a:gd name="T70" fmla="*/ 1822 w 2115"/>
                  <a:gd name="T71" fmla="*/ 133 h 1302"/>
                  <a:gd name="T72" fmla="*/ 1907 w 2115"/>
                  <a:gd name="T73" fmla="*/ 321 h 1302"/>
                  <a:gd name="T74" fmla="*/ 1951 w 2115"/>
                  <a:gd name="T75" fmla="*/ 22 h 1302"/>
                  <a:gd name="T76" fmla="*/ 1415 w 2115"/>
                  <a:gd name="T77" fmla="*/ 0 h 1302"/>
                  <a:gd name="T78" fmla="*/ 1907 w 2115"/>
                  <a:gd name="T79" fmla="*/ 44 h 1302"/>
                  <a:gd name="T80" fmla="*/ 1285 w 2115"/>
                  <a:gd name="T81" fmla="*/ 1059 h 1302"/>
                  <a:gd name="T82" fmla="*/ 1209 w 2115"/>
                  <a:gd name="T83" fmla="*/ 1103 h 1302"/>
                  <a:gd name="T84" fmla="*/ 1285 w 2115"/>
                  <a:gd name="T85" fmla="*/ 1059 h 1302"/>
                  <a:gd name="T86" fmla="*/ 1441 w 2115"/>
                  <a:gd name="T87" fmla="*/ 787 h 1302"/>
                  <a:gd name="T88" fmla="*/ 1518 w 2115"/>
                  <a:gd name="T89" fmla="*/ 496 h 1302"/>
                  <a:gd name="T90" fmla="*/ 1629 w 2115"/>
                  <a:gd name="T91" fmla="*/ 334 h 1302"/>
                  <a:gd name="T92" fmla="*/ 1209 w 2115"/>
                  <a:gd name="T93" fmla="*/ 324 h 1302"/>
                  <a:gd name="T94" fmla="*/ 1285 w 2115"/>
                  <a:gd name="T95" fmla="*/ 956 h 1302"/>
                  <a:gd name="T96" fmla="*/ 2057 w 2115"/>
                  <a:gd name="T97" fmla="*/ 403 h 1302"/>
                  <a:gd name="T98" fmla="*/ 1838 w 2115"/>
                  <a:gd name="T99" fmla="*/ 362 h 1302"/>
                  <a:gd name="T100" fmla="*/ 1562 w 2115"/>
                  <a:gd name="T101" fmla="*/ 496 h 1302"/>
                  <a:gd name="T102" fmla="*/ 1606 w 2115"/>
                  <a:gd name="T103" fmla="*/ 770 h 1302"/>
                  <a:gd name="T104" fmla="*/ 1606 w 2115"/>
                  <a:gd name="T105" fmla="*/ 496 h 1302"/>
                  <a:gd name="T106" fmla="*/ 1838 w 2115"/>
                  <a:gd name="T107" fmla="*/ 406 h 1302"/>
                  <a:gd name="T108" fmla="*/ 2071 w 2115"/>
                  <a:gd name="T109" fmla="*/ 496 h 1302"/>
                  <a:gd name="T110" fmla="*/ 1982 w 2115"/>
                  <a:gd name="T111" fmla="*/ 1130 h 1302"/>
                  <a:gd name="T112" fmla="*/ 1926 w 2115"/>
                  <a:gd name="T113" fmla="*/ 1168 h 1302"/>
                  <a:gd name="T114" fmla="*/ 1992 w 2115"/>
                  <a:gd name="T115" fmla="*/ 1173 h 1302"/>
                  <a:gd name="T116" fmla="*/ 2115 w 2115"/>
                  <a:gd name="T117" fmla="*/ 496 h 1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15" h="1302">
                    <a:moveTo>
                      <a:pt x="573" y="956"/>
                    </a:moveTo>
                    <a:cubicBezTo>
                      <a:pt x="154" y="956"/>
                      <a:pt x="154" y="956"/>
                      <a:pt x="154" y="956"/>
                    </a:cubicBezTo>
                    <a:cubicBezTo>
                      <a:pt x="148" y="956"/>
                      <a:pt x="144" y="951"/>
                      <a:pt x="144" y="946"/>
                    </a:cubicBezTo>
                    <a:cubicBezTo>
                      <a:pt x="144" y="334"/>
                      <a:pt x="144" y="334"/>
                      <a:pt x="144" y="334"/>
                    </a:cubicBezTo>
                    <a:cubicBezTo>
                      <a:pt x="144" y="328"/>
                      <a:pt x="148" y="324"/>
                      <a:pt x="15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lnTo>
                      <a:pt x="573" y="956"/>
                    </a:lnTo>
                    <a:close/>
                    <a:moveTo>
                      <a:pt x="573" y="1059"/>
                    </a:moveTo>
                    <a:cubicBezTo>
                      <a:pt x="44" y="1059"/>
                      <a:pt x="44" y="1059"/>
                      <a:pt x="44" y="1059"/>
                    </a:cubicBezTo>
                    <a:cubicBezTo>
                      <a:pt x="44" y="220"/>
                      <a:pt x="44" y="220"/>
                      <a:pt x="44" y="220"/>
                    </a:cubicBezTo>
                    <a:cubicBezTo>
                      <a:pt x="573" y="220"/>
                      <a:pt x="573" y="220"/>
                      <a:pt x="573" y="220"/>
                    </a:cubicBezTo>
                    <a:cubicBezTo>
                      <a:pt x="573" y="180"/>
                      <a:pt x="573" y="180"/>
                      <a:pt x="573" y="180"/>
                    </a:cubicBezTo>
                    <a:cubicBezTo>
                      <a:pt x="576" y="176"/>
                      <a:pt x="576" y="176"/>
                      <a:pt x="576" y="176"/>
                    </a:cubicBezTo>
                    <a:cubicBezTo>
                      <a:pt x="22" y="176"/>
                      <a:pt x="22" y="176"/>
                      <a:pt x="22" y="176"/>
                    </a:cubicBezTo>
                    <a:cubicBezTo>
                      <a:pt x="10" y="176"/>
                      <a:pt x="0" y="186"/>
                      <a:pt x="0" y="198"/>
                    </a:cubicBezTo>
                    <a:cubicBezTo>
                      <a:pt x="0" y="1081"/>
                      <a:pt x="0" y="1081"/>
                      <a:pt x="0" y="1081"/>
                    </a:cubicBezTo>
                    <a:cubicBezTo>
                      <a:pt x="0" y="1093"/>
                      <a:pt x="10" y="1103"/>
                      <a:pt x="22" y="1103"/>
                    </a:cubicBezTo>
                    <a:cubicBezTo>
                      <a:pt x="573" y="1103"/>
                      <a:pt x="573" y="1103"/>
                      <a:pt x="573" y="1103"/>
                    </a:cubicBezTo>
                    <a:lnTo>
                      <a:pt x="573" y="1059"/>
                    </a:lnTo>
                    <a:close/>
                    <a:moveTo>
                      <a:pt x="660" y="89"/>
                    </a:moveTo>
                    <a:cubicBezTo>
                      <a:pt x="116" y="89"/>
                      <a:pt x="116" y="89"/>
                      <a:pt x="116" y="89"/>
                    </a:cubicBezTo>
                    <a:cubicBezTo>
                      <a:pt x="104" y="89"/>
                      <a:pt x="94" y="99"/>
                      <a:pt x="94" y="111"/>
                    </a:cubicBezTo>
                    <a:cubicBezTo>
                      <a:pt x="94" y="123"/>
                      <a:pt x="104" y="133"/>
                      <a:pt x="116" y="133"/>
                    </a:cubicBezTo>
                    <a:cubicBezTo>
                      <a:pt x="618" y="133"/>
                      <a:pt x="618" y="133"/>
                      <a:pt x="618" y="133"/>
                    </a:cubicBezTo>
                    <a:lnTo>
                      <a:pt x="660" y="89"/>
                    </a:lnTo>
                    <a:close/>
                    <a:moveTo>
                      <a:pt x="745" y="0"/>
                    </a:moveTo>
                    <a:cubicBezTo>
                      <a:pt x="201" y="0"/>
                      <a:pt x="201" y="0"/>
                      <a:pt x="201" y="0"/>
                    </a:cubicBezTo>
                    <a:cubicBezTo>
                      <a:pt x="189" y="0"/>
                      <a:pt x="179" y="10"/>
                      <a:pt x="179" y="22"/>
                    </a:cubicBezTo>
                    <a:cubicBezTo>
                      <a:pt x="179" y="35"/>
                      <a:pt x="189" y="44"/>
                      <a:pt x="201" y="44"/>
                    </a:cubicBezTo>
                    <a:cubicBezTo>
                      <a:pt x="703" y="44"/>
                      <a:pt x="703" y="44"/>
                      <a:pt x="703" y="44"/>
                    </a:cubicBezTo>
                    <a:lnTo>
                      <a:pt x="745" y="0"/>
                    </a:lnTo>
                    <a:close/>
                    <a:moveTo>
                      <a:pt x="1882" y="948"/>
                    </a:moveTo>
                    <a:cubicBezTo>
                      <a:pt x="1882" y="1168"/>
                      <a:pt x="1882" y="1168"/>
                      <a:pt x="1882" y="1168"/>
                    </a:cubicBezTo>
                    <a:cubicBezTo>
                      <a:pt x="1882" y="1208"/>
                      <a:pt x="1861" y="1261"/>
                      <a:pt x="1760" y="1286"/>
                    </a:cubicBezTo>
                    <a:cubicBezTo>
                      <a:pt x="1718" y="1296"/>
                      <a:pt x="1663" y="1302"/>
                      <a:pt x="1606" y="1302"/>
                    </a:cubicBezTo>
                    <a:cubicBezTo>
                      <a:pt x="1549" y="1302"/>
                      <a:pt x="1494" y="1296"/>
                      <a:pt x="1452" y="1286"/>
                    </a:cubicBezTo>
                    <a:cubicBezTo>
                      <a:pt x="1439" y="1283"/>
                      <a:pt x="1412" y="1276"/>
                      <a:pt x="1387" y="1262"/>
                    </a:cubicBezTo>
                    <a:cubicBezTo>
                      <a:pt x="1350" y="1240"/>
                      <a:pt x="1329" y="1207"/>
                      <a:pt x="1329" y="1168"/>
                    </a:cubicBezTo>
                    <a:cubicBezTo>
                      <a:pt x="1329" y="948"/>
                      <a:pt x="1329" y="948"/>
                      <a:pt x="1329" y="948"/>
                    </a:cubicBezTo>
                    <a:cubicBezTo>
                      <a:pt x="1329" y="908"/>
                      <a:pt x="1350" y="855"/>
                      <a:pt x="1452" y="830"/>
                    </a:cubicBezTo>
                    <a:cubicBezTo>
                      <a:pt x="1494" y="820"/>
                      <a:pt x="1549" y="814"/>
                      <a:pt x="1606" y="814"/>
                    </a:cubicBezTo>
                    <a:cubicBezTo>
                      <a:pt x="1663" y="814"/>
                      <a:pt x="1718" y="820"/>
                      <a:pt x="1760" y="830"/>
                    </a:cubicBezTo>
                    <a:cubicBezTo>
                      <a:pt x="1773" y="833"/>
                      <a:pt x="1799" y="840"/>
                      <a:pt x="1824" y="854"/>
                    </a:cubicBezTo>
                    <a:cubicBezTo>
                      <a:pt x="1862" y="876"/>
                      <a:pt x="1882" y="910"/>
                      <a:pt x="1882" y="948"/>
                    </a:cubicBezTo>
                    <a:close/>
                    <a:moveTo>
                      <a:pt x="1838" y="948"/>
                    </a:moveTo>
                    <a:cubicBezTo>
                      <a:pt x="1838" y="894"/>
                      <a:pt x="1771" y="878"/>
                      <a:pt x="1750" y="873"/>
                    </a:cubicBezTo>
                    <a:cubicBezTo>
                      <a:pt x="1711" y="863"/>
                      <a:pt x="1660" y="858"/>
                      <a:pt x="1606" y="858"/>
                    </a:cubicBezTo>
                    <a:cubicBezTo>
                      <a:pt x="1552" y="858"/>
                      <a:pt x="1501" y="863"/>
                      <a:pt x="1462" y="873"/>
                    </a:cubicBezTo>
                    <a:cubicBezTo>
                      <a:pt x="1440" y="878"/>
                      <a:pt x="1373" y="894"/>
                      <a:pt x="1373" y="948"/>
                    </a:cubicBezTo>
                    <a:cubicBezTo>
                      <a:pt x="1373" y="1168"/>
                      <a:pt x="1373" y="1168"/>
                      <a:pt x="1373" y="1168"/>
                    </a:cubicBezTo>
                    <a:cubicBezTo>
                      <a:pt x="1373" y="1222"/>
                      <a:pt x="1440" y="1238"/>
                      <a:pt x="1462" y="1243"/>
                    </a:cubicBezTo>
                    <a:cubicBezTo>
                      <a:pt x="1501" y="1253"/>
                      <a:pt x="1552" y="1258"/>
                      <a:pt x="1606" y="1258"/>
                    </a:cubicBezTo>
                    <a:cubicBezTo>
                      <a:pt x="1660" y="1258"/>
                      <a:pt x="1711" y="1253"/>
                      <a:pt x="1750" y="1243"/>
                    </a:cubicBezTo>
                    <a:cubicBezTo>
                      <a:pt x="1771" y="1238"/>
                      <a:pt x="1838" y="1222"/>
                      <a:pt x="1838" y="1168"/>
                    </a:cubicBezTo>
                    <a:lnTo>
                      <a:pt x="1838" y="948"/>
                    </a:lnTo>
                    <a:close/>
                    <a:moveTo>
                      <a:pt x="1728" y="325"/>
                    </a:moveTo>
                    <a:cubicBezTo>
                      <a:pt x="1743" y="324"/>
                      <a:pt x="1757" y="322"/>
                      <a:pt x="1772" y="321"/>
                    </a:cubicBezTo>
                    <a:cubicBezTo>
                      <a:pt x="1772" y="198"/>
                      <a:pt x="1772" y="198"/>
                      <a:pt x="1772" y="198"/>
                    </a:cubicBezTo>
                    <a:cubicBezTo>
                      <a:pt x="1772" y="186"/>
                      <a:pt x="1763" y="176"/>
                      <a:pt x="1750" y="176"/>
                    </a:cubicBezTo>
                    <a:cubicBezTo>
                      <a:pt x="1246" y="176"/>
                      <a:pt x="1246" y="176"/>
                      <a:pt x="1246" y="176"/>
                    </a:cubicBezTo>
                    <a:cubicBezTo>
                      <a:pt x="1209" y="215"/>
                      <a:pt x="1209" y="215"/>
                      <a:pt x="1209" y="215"/>
                    </a:cubicBezTo>
                    <a:cubicBezTo>
                      <a:pt x="1209" y="220"/>
                      <a:pt x="1209" y="220"/>
                      <a:pt x="1209" y="220"/>
                    </a:cubicBezTo>
                    <a:cubicBezTo>
                      <a:pt x="1728" y="220"/>
                      <a:pt x="1728" y="220"/>
                      <a:pt x="1728" y="220"/>
                    </a:cubicBezTo>
                    <a:lnTo>
                      <a:pt x="1728" y="325"/>
                    </a:lnTo>
                    <a:close/>
                    <a:moveTo>
                      <a:pt x="1822" y="319"/>
                    </a:moveTo>
                    <a:cubicBezTo>
                      <a:pt x="1827" y="318"/>
                      <a:pt x="1833" y="318"/>
                      <a:pt x="1838" y="318"/>
                    </a:cubicBezTo>
                    <a:cubicBezTo>
                      <a:pt x="1848" y="318"/>
                      <a:pt x="1857" y="319"/>
                      <a:pt x="1866" y="319"/>
                    </a:cubicBezTo>
                    <a:cubicBezTo>
                      <a:pt x="1866" y="111"/>
                      <a:pt x="1866" y="111"/>
                      <a:pt x="1866" y="111"/>
                    </a:cubicBezTo>
                    <a:cubicBezTo>
                      <a:pt x="1866" y="99"/>
                      <a:pt x="1856" y="89"/>
                      <a:pt x="1844" y="89"/>
                    </a:cubicBezTo>
                    <a:cubicBezTo>
                      <a:pt x="1330" y="89"/>
                      <a:pt x="1330" y="89"/>
                      <a:pt x="1330" y="89"/>
                    </a:cubicBezTo>
                    <a:cubicBezTo>
                      <a:pt x="1288" y="133"/>
                      <a:pt x="1288" y="133"/>
                      <a:pt x="1288" y="133"/>
                    </a:cubicBezTo>
                    <a:cubicBezTo>
                      <a:pt x="1822" y="133"/>
                      <a:pt x="1822" y="133"/>
                      <a:pt x="1822" y="133"/>
                    </a:cubicBezTo>
                    <a:lnTo>
                      <a:pt x="1822" y="319"/>
                    </a:lnTo>
                    <a:close/>
                    <a:moveTo>
                      <a:pt x="1907" y="321"/>
                    </a:moveTo>
                    <a:cubicBezTo>
                      <a:pt x="1922" y="322"/>
                      <a:pt x="1937" y="324"/>
                      <a:pt x="1951" y="326"/>
                    </a:cubicBezTo>
                    <a:cubicBezTo>
                      <a:pt x="1951" y="22"/>
                      <a:pt x="1951" y="22"/>
                      <a:pt x="1951" y="22"/>
                    </a:cubicBezTo>
                    <a:cubicBezTo>
                      <a:pt x="1951" y="10"/>
                      <a:pt x="1941" y="0"/>
                      <a:pt x="1929" y="0"/>
                    </a:cubicBezTo>
                    <a:cubicBezTo>
                      <a:pt x="1415" y="0"/>
                      <a:pt x="1415" y="0"/>
                      <a:pt x="1415" y="0"/>
                    </a:cubicBezTo>
                    <a:cubicBezTo>
                      <a:pt x="1373" y="44"/>
                      <a:pt x="1373" y="44"/>
                      <a:pt x="1373" y="44"/>
                    </a:cubicBezTo>
                    <a:cubicBezTo>
                      <a:pt x="1907" y="44"/>
                      <a:pt x="1907" y="44"/>
                      <a:pt x="1907" y="44"/>
                    </a:cubicBezTo>
                    <a:lnTo>
                      <a:pt x="1907" y="321"/>
                    </a:lnTo>
                    <a:close/>
                    <a:moveTo>
                      <a:pt x="1285" y="1059"/>
                    </a:moveTo>
                    <a:cubicBezTo>
                      <a:pt x="1209" y="1059"/>
                      <a:pt x="1209" y="1059"/>
                      <a:pt x="1209" y="1059"/>
                    </a:cubicBezTo>
                    <a:cubicBezTo>
                      <a:pt x="1209" y="1103"/>
                      <a:pt x="1209" y="1103"/>
                      <a:pt x="1209" y="1103"/>
                    </a:cubicBezTo>
                    <a:cubicBezTo>
                      <a:pt x="1285" y="1103"/>
                      <a:pt x="1285" y="1103"/>
                      <a:pt x="1285" y="1103"/>
                    </a:cubicBezTo>
                    <a:lnTo>
                      <a:pt x="1285" y="1059"/>
                    </a:lnTo>
                    <a:close/>
                    <a:moveTo>
                      <a:pt x="1285" y="948"/>
                    </a:moveTo>
                    <a:cubicBezTo>
                      <a:pt x="1285" y="902"/>
                      <a:pt x="1305" y="820"/>
                      <a:pt x="1441" y="787"/>
                    </a:cubicBezTo>
                    <a:cubicBezTo>
                      <a:pt x="1464" y="782"/>
                      <a:pt x="1490" y="777"/>
                      <a:pt x="1518" y="775"/>
                    </a:cubicBezTo>
                    <a:cubicBezTo>
                      <a:pt x="1518" y="496"/>
                      <a:pt x="1518" y="496"/>
                      <a:pt x="1518" y="496"/>
                    </a:cubicBezTo>
                    <a:cubicBezTo>
                      <a:pt x="1518" y="456"/>
                      <a:pt x="1533" y="388"/>
                      <a:pt x="1629" y="350"/>
                    </a:cubicBezTo>
                    <a:cubicBezTo>
                      <a:pt x="1629" y="334"/>
                      <a:pt x="1629" y="334"/>
                      <a:pt x="1629" y="334"/>
                    </a:cubicBezTo>
                    <a:cubicBezTo>
                      <a:pt x="1629" y="328"/>
                      <a:pt x="1625" y="324"/>
                      <a:pt x="1619" y="324"/>
                    </a:cubicBezTo>
                    <a:cubicBezTo>
                      <a:pt x="1209" y="324"/>
                      <a:pt x="1209" y="324"/>
                      <a:pt x="1209" y="324"/>
                    </a:cubicBezTo>
                    <a:cubicBezTo>
                      <a:pt x="1209" y="956"/>
                      <a:pt x="1209" y="956"/>
                      <a:pt x="1209" y="956"/>
                    </a:cubicBezTo>
                    <a:cubicBezTo>
                      <a:pt x="1285" y="956"/>
                      <a:pt x="1285" y="956"/>
                      <a:pt x="1285" y="956"/>
                    </a:cubicBezTo>
                    <a:lnTo>
                      <a:pt x="1285" y="948"/>
                    </a:lnTo>
                    <a:close/>
                    <a:moveTo>
                      <a:pt x="2057" y="403"/>
                    </a:moveTo>
                    <a:cubicBezTo>
                      <a:pt x="2032" y="388"/>
                      <a:pt x="2005" y="381"/>
                      <a:pt x="1992" y="378"/>
                    </a:cubicBezTo>
                    <a:cubicBezTo>
                      <a:pt x="1950" y="368"/>
                      <a:pt x="1896" y="362"/>
                      <a:pt x="1838" y="362"/>
                    </a:cubicBezTo>
                    <a:cubicBezTo>
                      <a:pt x="1781" y="362"/>
                      <a:pt x="1726" y="368"/>
                      <a:pt x="1684" y="378"/>
                    </a:cubicBezTo>
                    <a:cubicBezTo>
                      <a:pt x="1583" y="403"/>
                      <a:pt x="1562" y="456"/>
                      <a:pt x="1562" y="496"/>
                    </a:cubicBezTo>
                    <a:cubicBezTo>
                      <a:pt x="1562" y="771"/>
                      <a:pt x="1562" y="771"/>
                      <a:pt x="1562" y="771"/>
                    </a:cubicBezTo>
                    <a:cubicBezTo>
                      <a:pt x="1576" y="770"/>
                      <a:pt x="1591" y="770"/>
                      <a:pt x="1606" y="770"/>
                    </a:cubicBezTo>
                    <a:cubicBezTo>
                      <a:pt x="1606" y="770"/>
                      <a:pt x="1606" y="770"/>
                      <a:pt x="1606" y="770"/>
                    </a:cubicBezTo>
                    <a:cubicBezTo>
                      <a:pt x="1606" y="496"/>
                      <a:pt x="1606" y="496"/>
                      <a:pt x="1606" y="496"/>
                    </a:cubicBezTo>
                    <a:cubicBezTo>
                      <a:pt x="1606" y="443"/>
                      <a:pt x="1673" y="426"/>
                      <a:pt x="1695" y="421"/>
                    </a:cubicBezTo>
                    <a:cubicBezTo>
                      <a:pt x="1734" y="412"/>
                      <a:pt x="1785" y="406"/>
                      <a:pt x="1838" y="406"/>
                    </a:cubicBezTo>
                    <a:cubicBezTo>
                      <a:pt x="1892" y="406"/>
                      <a:pt x="1943" y="412"/>
                      <a:pt x="1982" y="421"/>
                    </a:cubicBezTo>
                    <a:cubicBezTo>
                      <a:pt x="2004" y="426"/>
                      <a:pt x="2071" y="443"/>
                      <a:pt x="2071" y="496"/>
                    </a:cubicBezTo>
                    <a:cubicBezTo>
                      <a:pt x="2071" y="1055"/>
                      <a:pt x="2071" y="1055"/>
                      <a:pt x="2071" y="1055"/>
                    </a:cubicBezTo>
                    <a:cubicBezTo>
                      <a:pt x="2071" y="1108"/>
                      <a:pt x="2004" y="1125"/>
                      <a:pt x="1982" y="1130"/>
                    </a:cubicBezTo>
                    <a:cubicBezTo>
                      <a:pt x="1965" y="1134"/>
                      <a:pt x="1947" y="1137"/>
                      <a:pt x="1926" y="1140"/>
                    </a:cubicBezTo>
                    <a:cubicBezTo>
                      <a:pt x="1926" y="1168"/>
                      <a:pt x="1926" y="1168"/>
                      <a:pt x="1926" y="1168"/>
                    </a:cubicBezTo>
                    <a:cubicBezTo>
                      <a:pt x="1926" y="1173"/>
                      <a:pt x="1926" y="1178"/>
                      <a:pt x="1925" y="1184"/>
                    </a:cubicBezTo>
                    <a:cubicBezTo>
                      <a:pt x="1950" y="1181"/>
                      <a:pt x="1973" y="1178"/>
                      <a:pt x="1992" y="1173"/>
                    </a:cubicBezTo>
                    <a:cubicBezTo>
                      <a:pt x="2094" y="1148"/>
                      <a:pt x="2115" y="1095"/>
                      <a:pt x="2115" y="1055"/>
                    </a:cubicBezTo>
                    <a:cubicBezTo>
                      <a:pt x="2115" y="496"/>
                      <a:pt x="2115" y="496"/>
                      <a:pt x="2115" y="496"/>
                    </a:cubicBezTo>
                    <a:cubicBezTo>
                      <a:pt x="2115" y="458"/>
                      <a:pt x="2094" y="425"/>
                      <a:pt x="2057" y="403"/>
                    </a:cubicBezTo>
                    <a:close/>
                  </a:path>
                </a:pathLst>
              </a:custGeom>
              <a:solidFill>
                <a:srgbClr val="9A9A9A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12">
                <a:extLst>
                  <a:ext uri="{FF2B5EF4-FFF2-40B4-BE49-F238E27FC236}">
                    <a16:creationId xmlns:a16="http://schemas.microsoft.com/office/drawing/2014/main" id="{D63CC4D9-71E9-47B8-8268-8DD12EBA4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9769" y="3071622"/>
                <a:ext cx="1006602" cy="862965"/>
              </a:xfrm>
              <a:custGeom>
                <a:avLst/>
                <a:gdLst>
                  <a:gd name="T0" fmla="*/ 0 w 1410"/>
                  <a:gd name="T1" fmla="*/ 1099 h 1208"/>
                  <a:gd name="T2" fmla="*/ 184 w 1410"/>
                  <a:gd name="T3" fmla="*/ 0 h 1208"/>
                  <a:gd name="T4" fmla="*/ 548 w 1410"/>
                  <a:gd name="T5" fmla="*/ 191 h 1208"/>
                  <a:gd name="T6" fmla="*/ 1410 w 1410"/>
                  <a:gd name="T7" fmla="*/ 662 h 1208"/>
                  <a:gd name="T8" fmla="*/ 1221 w 1410"/>
                  <a:gd name="T9" fmla="*/ 692 h 1208"/>
                  <a:gd name="T10" fmla="*/ 1033 w 1410"/>
                  <a:gd name="T11" fmla="*/ 662 h 1208"/>
                  <a:gd name="T12" fmla="*/ 1033 w 1410"/>
                  <a:gd name="T13" fmla="*/ 711 h 1208"/>
                  <a:gd name="T14" fmla="*/ 1033 w 1410"/>
                  <a:gd name="T15" fmla="*/ 714 h 1208"/>
                  <a:gd name="T16" fmla="*/ 1410 w 1410"/>
                  <a:gd name="T17" fmla="*/ 714 h 1208"/>
                  <a:gd name="T18" fmla="*/ 1409 w 1410"/>
                  <a:gd name="T19" fmla="*/ 711 h 1208"/>
                  <a:gd name="T20" fmla="*/ 1410 w 1410"/>
                  <a:gd name="T21" fmla="*/ 662 h 1208"/>
                  <a:gd name="T22" fmla="*/ 1033 w 1410"/>
                  <a:gd name="T23" fmla="*/ 490 h 1208"/>
                  <a:gd name="T24" fmla="*/ 1221 w 1410"/>
                  <a:gd name="T25" fmla="*/ 536 h 1208"/>
                  <a:gd name="T26" fmla="*/ 1410 w 1410"/>
                  <a:gd name="T27" fmla="*/ 490 h 1208"/>
                  <a:gd name="T28" fmla="*/ 1409 w 1410"/>
                  <a:gd name="T29" fmla="*/ 487 h 1208"/>
                  <a:gd name="T30" fmla="*/ 1033 w 1410"/>
                  <a:gd name="T31" fmla="*/ 487 h 1208"/>
                  <a:gd name="T32" fmla="*/ 1221 w 1410"/>
                  <a:gd name="T33" fmla="*/ 580 h 1208"/>
                  <a:gd name="T34" fmla="*/ 1033 w 1410"/>
                  <a:gd name="T35" fmla="*/ 550 h 1208"/>
                  <a:gd name="T36" fmla="*/ 1033 w 1410"/>
                  <a:gd name="T37" fmla="*/ 599 h 1208"/>
                  <a:gd name="T38" fmla="*/ 1033 w 1410"/>
                  <a:gd name="T39" fmla="*/ 602 h 1208"/>
                  <a:gd name="T40" fmla="*/ 1410 w 1410"/>
                  <a:gd name="T41" fmla="*/ 602 h 1208"/>
                  <a:gd name="T42" fmla="*/ 1409 w 1410"/>
                  <a:gd name="T43" fmla="*/ 599 h 1208"/>
                  <a:gd name="T44" fmla="*/ 1410 w 1410"/>
                  <a:gd name="T45" fmla="*/ 550 h 1208"/>
                  <a:gd name="T46" fmla="*/ 1221 w 1410"/>
                  <a:gd name="T47" fmla="*/ 580 h 1208"/>
                  <a:gd name="T48" fmla="*/ 845 w 1410"/>
                  <a:gd name="T49" fmla="*/ 1015 h 1208"/>
                  <a:gd name="T50" fmla="*/ 800 w 1410"/>
                  <a:gd name="T51" fmla="*/ 1049 h 1208"/>
                  <a:gd name="T52" fmla="*/ 800 w 1410"/>
                  <a:gd name="T53" fmla="*/ 1052 h 1208"/>
                  <a:gd name="T54" fmla="*/ 989 w 1410"/>
                  <a:gd name="T55" fmla="*/ 1098 h 1208"/>
                  <a:gd name="T56" fmla="*/ 1177 w 1410"/>
                  <a:gd name="T57" fmla="*/ 1052 h 1208"/>
                  <a:gd name="T58" fmla="*/ 1177 w 1410"/>
                  <a:gd name="T59" fmla="*/ 1049 h 1208"/>
                  <a:gd name="T60" fmla="*/ 1133 w 1410"/>
                  <a:gd name="T61" fmla="*/ 1015 h 1208"/>
                  <a:gd name="T62" fmla="*/ 1133 w 1410"/>
                  <a:gd name="T63" fmla="*/ 1127 h 1208"/>
                  <a:gd name="T64" fmla="*/ 845 w 1410"/>
                  <a:gd name="T65" fmla="*/ 1127 h 1208"/>
                  <a:gd name="T66" fmla="*/ 800 w 1410"/>
                  <a:gd name="T67" fmla="*/ 1161 h 1208"/>
                  <a:gd name="T68" fmla="*/ 800 w 1410"/>
                  <a:gd name="T69" fmla="*/ 1163 h 1208"/>
                  <a:gd name="T70" fmla="*/ 1177 w 1410"/>
                  <a:gd name="T71" fmla="*/ 1163 h 1208"/>
                  <a:gd name="T72" fmla="*/ 1177 w 1410"/>
                  <a:gd name="T73" fmla="*/ 1161 h 1208"/>
                  <a:gd name="T74" fmla="*/ 1133 w 1410"/>
                  <a:gd name="T75" fmla="*/ 1127 h 1208"/>
                  <a:gd name="T76" fmla="*/ 1177 w 1410"/>
                  <a:gd name="T77" fmla="*/ 941 h 1208"/>
                  <a:gd name="T78" fmla="*/ 800 w 1410"/>
                  <a:gd name="T79" fmla="*/ 941 h 1208"/>
                  <a:gd name="T80" fmla="*/ 1410 w 1410"/>
                  <a:gd name="T81" fmla="*/ 774 h 1208"/>
                  <a:gd name="T82" fmla="*/ 1221 w 1410"/>
                  <a:gd name="T83" fmla="*/ 804 h 1208"/>
                  <a:gd name="T84" fmla="*/ 1230 w 1410"/>
                  <a:gd name="T85" fmla="*/ 810 h 1208"/>
                  <a:gd name="T86" fmla="*/ 1410 w 1410"/>
                  <a:gd name="T87" fmla="*/ 826 h 1208"/>
                  <a:gd name="T88" fmla="*/ 1409 w 1410"/>
                  <a:gd name="T89" fmla="*/ 824 h 1208"/>
                  <a:gd name="T90" fmla="*/ 1410 w 1410"/>
                  <a:gd name="T91" fmla="*/ 774 h 1208"/>
                  <a:gd name="T92" fmla="*/ 1365 w 1410"/>
                  <a:gd name="T93" fmla="*/ 902 h 1208"/>
                  <a:gd name="T94" fmla="*/ 1309 w 1410"/>
                  <a:gd name="T95" fmla="*/ 942 h 1208"/>
                  <a:gd name="T96" fmla="*/ 1410 w 1410"/>
                  <a:gd name="T97" fmla="*/ 939 h 1208"/>
                  <a:gd name="T98" fmla="*/ 1409 w 1410"/>
                  <a:gd name="T99" fmla="*/ 936 h 1208"/>
                  <a:gd name="T100" fmla="*/ 1410 w 1410"/>
                  <a:gd name="T101" fmla="*/ 886 h 1208"/>
                  <a:gd name="T102" fmla="*/ 1365 w 1410"/>
                  <a:gd name="T103" fmla="*/ 1014 h 1208"/>
                  <a:gd name="T104" fmla="*/ 1309 w 1410"/>
                  <a:gd name="T105" fmla="*/ 1089 h 1208"/>
                  <a:gd name="T106" fmla="*/ 1409 w 1410"/>
                  <a:gd name="T107" fmla="*/ 1048 h 1208"/>
                  <a:gd name="T108" fmla="*/ 1410 w 1410"/>
                  <a:gd name="T109" fmla="*/ 998 h 1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10" h="1208">
                    <a:moveTo>
                      <a:pt x="548" y="1099"/>
                    </a:moveTo>
                    <a:cubicBezTo>
                      <a:pt x="0" y="1099"/>
                      <a:pt x="0" y="1099"/>
                      <a:pt x="0" y="1099"/>
                    </a:cubicBezTo>
                    <a:cubicBezTo>
                      <a:pt x="0" y="191"/>
                      <a:pt x="0" y="191"/>
                      <a:pt x="0" y="191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548" y="191"/>
                      <a:pt x="548" y="191"/>
                      <a:pt x="548" y="191"/>
                    </a:cubicBezTo>
                    <a:lnTo>
                      <a:pt x="548" y="1099"/>
                    </a:lnTo>
                    <a:close/>
                    <a:moveTo>
                      <a:pt x="1410" y="662"/>
                    </a:moveTo>
                    <a:cubicBezTo>
                      <a:pt x="1398" y="668"/>
                      <a:pt x="1383" y="673"/>
                      <a:pt x="1365" y="678"/>
                    </a:cubicBezTo>
                    <a:cubicBezTo>
                      <a:pt x="1326" y="687"/>
                      <a:pt x="1275" y="692"/>
                      <a:pt x="1221" y="692"/>
                    </a:cubicBezTo>
                    <a:cubicBezTo>
                      <a:pt x="1168" y="692"/>
                      <a:pt x="1117" y="687"/>
                      <a:pt x="1078" y="678"/>
                    </a:cubicBezTo>
                    <a:cubicBezTo>
                      <a:pt x="1060" y="673"/>
                      <a:pt x="1045" y="668"/>
                      <a:pt x="1033" y="662"/>
                    </a:cubicBezTo>
                    <a:cubicBezTo>
                      <a:pt x="1033" y="711"/>
                      <a:pt x="1033" y="711"/>
                      <a:pt x="1033" y="711"/>
                    </a:cubicBezTo>
                    <a:cubicBezTo>
                      <a:pt x="1033" y="711"/>
                      <a:pt x="1033" y="711"/>
                      <a:pt x="1033" y="711"/>
                    </a:cubicBezTo>
                    <a:cubicBezTo>
                      <a:pt x="1033" y="712"/>
                      <a:pt x="1033" y="713"/>
                      <a:pt x="1033" y="714"/>
                    </a:cubicBezTo>
                    <a:cubicBezTo>
                      <a:pt x="1033" y="714"/>
                      <a:pt x="1033" y="714"/>
                      <a:pt x="1033" y="714"/>
                    </a:cubicBezTo>
                    <a:cubicBezTo>
                      <a:pt x="1033" y="740"/>
                      <a:pt x="1117" y="760"/>
                      <a:pt x="1221" y="760"/>
                    </a:cubicBezTo>
                    <a:cubicBezTo>
                      <a:pt x="1325" y="760"/>
                      <a:pt x="1410" y="740"/>
                      <a:pt x="1410" y="714"/>
                    </a:cubicBezTo>
                    <a:cubicBezTo>
                      <a:pt x="1410" y="714"/>
                      <a:pt x="1410" y="714"/>
                      <a:pt x="1410" y="714"/>
                    </a:cubicBezTo>
                    <a:cubicBezTo>
                      <a:pt x="1410" y="713"/>
                      <a:pt x="1410" y="712"/>
                      <a:pt x="1409" y="711"/>
                    </a:cubicBezTo>
                    <a:cubicBezTo>
                      <a:pt x="1410" y="711"/>
                      <a:pt x="1410" y="711"/>
                      <a:pt x="1410" y="711"/>
                    </a:cubicBezTo>
                    <a:lnTo>
                      <a:pt x="1410" y="662"/>
                    </a:lnTo>
                    <a:close/>
                    <a:moveTo>
                      <a:pt x="1033" y="488"/>
                    </a:moveTo>
                    <a:cubicBezTo>
                      <a:pt x="1033" y="489"/>
                      <a:pt x="1033" y="490"/>
                      <a:pt x="1033" y="490"/>
                    </a:cubicBezTo>
                    <a:cubicBezTo>
                      <a:pt x="1033" y="490"/>
                      <a:pt x="1033" y="490"/>
                      <a:pt x="1033" y="490"/>
                    </a:cubicBezTo>
                    <a:cubicBezTo>
                      <a:pt x="1033" y="516"/>
                      <a:pt x="1117" y="536"/>
                      <a:pt x="1221" y="536"/>
                    </a:cubicBezTo>
                    <a:cubicBezTo>
                      <a:pt x="1325" y="536"/>
                      <a:pt x="1410" y="516"/>
                      <a:pt x="1410" y="490"/>
                    </a:cubicBezTo>
                    <a:cubicBezTo>
                      <a:pt x="1410" y="490"/>
                      <a:pt x="1410" y="490"/>
                      <a:pt x="1410" y="490"/>
                    </a:cubicBezTo>
                    <a:cubicBezTo>
                      <a:pt x="1410" y="490"/>
                      <a:pt x="1410" y="489"/>
                      <a:pt x="1410" y="488"/>
                    </a:cubicBezTo>
                    <a:cubicBezTo>
                      <a:pt x="1410" y="488"/>
                      <a:pt x="1410" y="488"/>
                      <a:pt x="1409" y="487"/>
                    </a:cubicBezTo>
                    <a:cubicBezTo>
                      <a:pt x="1403" y="463"/>
                      <a:pt x="1321" y="444"/>
                      <a:pt x="1221" y="444"/>
                    </a:cubicBezTo>
                    <a:cubicBezTo>
                      <a:pt x="1121" y="444"/>
                      <a:pt x="1039" y="463"/>
                      <a:pt x="1033" y="487"/>
                    </a:cubicBezTo>
                    <a:cubicBezTo>
                      <a:pt x="1033" y="488"/>
                      <a:pt x="1033" y="488"/>
                      <a:pt x="1033" y="488"/>
                    </a:cubicBezTo>
                    <a:close/>
                    <a:moveTo>
                      <a:pt x="1221" y="580"/>
                    </a:moveTo>
                    <a:cubicBezTo>
                      <a:pt x="1168" y="580"/>
                      <a:pt x="1117" y="575"/>
                      <a:pt x="1078" y="565"/>
                    </a:cubicBezTo>
                    <a:cubicBezTo>
                      <a:pt x="1060" y="561"/>
                      <a:pt x="1045" y="556"/>
                      <a:pt x="1033" y="550"/>
                    </a:cubicBezTo>
                    <a:cubicBezTo>
                      <a:pt x="1033" y="599"/>
                      <a:pt x="1033" y="599"/>
                      <a:pt x="1033" y="599"/>
                    </a:cubicBezTo>
                    <a:cubicBezTo>
                      <a:pt x="1033" y="599"/>
                      <a:pt x="1033" y="599"/>
                      <a:pt x="1033" y="599"/>
                    </a:cubicBezTo>
                    <a:cubicBezTo>
                      <a:pt x="1033" y="600"/>
                      <a:pt x="1033" y="601"/>
                      <a:pt x="1033" y="602"/>
                    </a:cubicBezTo>
                    <a:cubicBezTo>
                      <a:pt x="1033" y="602"/>
                      <a:pt x="1033" y="602"/>
                      <a:pt x="1033" y="602"/>
                    </a:cubicBezTo>
                    <a:cubicBezTo>
                      <a:pt x="1033" y="628"/>
                      <a:pt x="1117" y="648"/>
                      <a:pt x="1221" y="648"/>
                    </a:cubicBezTo>
                    <a:cubicBezTo>
                      <a:pt x="1325" y="648"/>
                      <a:pt x="1410" y="628"/>
                      <a:pt x="1410" y="602"/>
                    </a:cubicBezTo>
                    <a:cubicBezTo>
                      <a:pt x="1410" y="602"/>
                      <a:pt x="1410" y="602"/>
                      <a:pt x="1410" y="602"/>
                    </a:cubicBezTo>
                    <a:cubicBezTo>
                      <a:pt x="1410" y="601"/>
                      <a:pt x="1410" y="600"/>
                      <a:pt x="1409" y="599"/>
                    </a:cubicBezTo>
                    <a:cubicBezTo>
                      <a:pt x="1410" y="599"/>
                      <a:pt x="1410" y="599"/>
                      <a:pt x="1410" y="599"/>
                    </a:cubicBezTo>
                    <a:cubicBezTo>
                      <a:pt x="1410" y="550"/>
                      <a:pt x="1410" y="550"/>
                      <a:pt x="1410" y="550"/>
                    </a:cubicBezTo>
                    <a:cubicBezTo>
                      <a:pt x="1398" y="556"/>
                      <a:pt x="1383" y="561"/>
                      <a:pt x="1365" y="565"/>
                    </a:cubicBezTo>
                    <a:cubicBezTo>
                      <a:pt x="1326" y="575"/>
                      <a:pt x="1275" y="580"/>
                      <a:pt x="1221" y="580"/>
                    </a:cubicBezTo>
                    <a:close/>
                    <a:moveTo>
                      <a:pt x="989" y="1030"/>
                    </a:moveTo>
                    <a:cubicBezTo>
                      <a:pt x="935" y="1030"/>
                      <a:pt x="884" y="1024"/>
                      <a:pt x="845" y="1015"/>
                    </a:cubicBezTo>
                    <a:cubicBezTo>
                      <a:pt x="827" y="1011"/>
                      <a:pt x="812" y="1005"/>
                      <a:pt x="800" y="999"/>
                    </a:cubicBezTo>
                    <a:cubicBezTo>
                      <a:pt x="800" y="1049"/>
                      <a:pt x="800" y="1049"/>
                      <a:pt x="800" y="1049"/>
                    </a:cubicBezTo>
                    <a:cubicBezTo>
                      <a:pt x="801" y="1049"/>
                      <a:pt x="801" y="1049"/>
                      <a:pt x="801" y="1049"/>
                    </a:cubicBezTo>
                    <a:cubicBezTo>
                      <a:pt x="800" y="1050"/>
                      <a:pt x="800" y="1051"/>
                      <a:pt x="800" y="1052"/>
                    </a:cubicBezTo>
                    <a:cubicBezTo>
                      <a:pt x="800" y="1052"/>
                      <a:pt x="800" y="1052"/>
                      <a:pt x="800" y="1052"/>
                    </a:cubicBezTo>
                    <a:cubicBezTo>
                      <a:pt x="800" y="1077"/>
                      <a:pt x="885" y="1098"/>
                      <a:pt x="989" y="1098"/>
                    </a:cubicBezTo>
                    <a:cubicBezTo>
                      <a:pt x="1093" y="1098"/>
                      <a:pt x="1177" y="1077"/>
                      <a:pt x="1177" y="1052"/>
                    </a:cubicBezTo>
                    <a:cubicBezTo>
                      <a:pt x="1177" y="1052"/>
                      <a:pt x="1177" y="1052"/>
                      <a:pt x="1177" y="1052"/>
                    </a:cubicBezTo>
                    <a:cubicBezTo>
                      <a:pt x="1177" y="1051"/>
                      <a:pt x="1177" y="1050"/>
                      <a:pt x="1177" y="1049"/>
                    </a:cubicBezTo>
                    <a:cubicBezTo>
                      <a:pt x="1177" y="1049"/>
                      <a:pt x="1177" y="1049"/>
                      <a:pt x="1177" y="1049"/>
                    </a:cubicBezTo>
                    <a:cubicBezTo>
                      <a:pt x="1177" y="999"/>
                      <a:pt x="1177" y="999"/>
                      <a:pt x="1177" y="999"/>
                    </a:cubicBezTo>
                    <a:cubicBezTo>
                      <a:pt x="1165" y="1005"/>
                      <a:pt x="1150" y="1011"/>
                      <a:pt x="1133" y="1015"/>
                    </a:cubicBezTo>
                    <a:cubicBezTo>
                      <a:pt x="1094" y="1024"/>
                      <a:pt x="1043" y="1030"/>
                      <a:pt x="989" y="1030"/>
                    </a:cubicBezTo>
                    <a:close/>
                    <a:moveTo>
                      <a:pt x="1133" y="1127"/>
                    </a:moveTo>
                    <a:cubicBezTo>
                      <a:pt x="1094" y="1136"/>
                      <a:pt x="1043" y="1142"/>
                      <a:pt x="989" y="1142"/>
                    </a:cubicBezTo>
                    <a:cubicBezTo>
                      <a:pt x="935" y="1142"/>
                      <a:pt x="884" y="1136"/>
                      <a:pt x="845" y="1127"/>
                    </a:cubicBezTo>
                    <a:cubicBezTo>
                      <a:pt x="827" y="1123"/>
                      <a:pt x="812" y="1117"/>
                      <a:pt x="800" y="1112"/>
                    </a:cubicBezTo>
                    <a:cubicBezTo>
                      <a:pt x="800" y="1161"/>
                      <a:pt x="800" y="1161"/>
                      <a:pt x="800" y="1161"/>
                    </a:cubicBezTo>
                    <a:cubicBezTo>
                      <a:pt x="801" y="1161"/>
                      <a:pt x="801" y="1161"/>
                      <a:pt x="801" y="1161"/>
                    </a:cubicBezTo>
                    <a:cubicBezTo>
                      <a:pt x="800" y="1162"/>
                      <a:pt x="800" y="1162"/>
                      <a:pt x="800" y="1163"/>
                    </a:cubicBezTo>
                    <a:cubicBezTo>
                      <a:pt x="802" y="1188"/>
                      <a:pt x="886" y="1208"/>
                      <a:pt x="989" y="1208"/>
                    </a:cubicBezTo>
                    <a:cubicBezTo>
                      <a:pt x="1092" y="1208"/>
                      <a:pt x="1176" y="1188"/>
                      <a:pt x="1177" y="1163"/>
                    </a:cubicBezTo>
                    <a:cubicBezTo>
                      <a:pt x="1177" y="1162"/>
                      <a:pt x="1177" y="1162"/>
                      <a:pt x="1177" y="1161"/>
                    </a:cubicBezTo>
                    <a:cubicBezTo>
                      <a:pt x="1177" y="1161"/>
                      <a:pt x="1177" y="1161"/>
                      <a:pt x="1177" y="1161"/>
                    </a:cubicBezTo>
                    <a:cubicBezTo>
                      <a:pt x="1177" y="1112"/>
                      <a:pt x="1177" y="1112"/>
                      <a:pt x="1177" y="1112"/>
                    </a:cubicBezTo>
                    <a:cubicBezTo>
                      <a:pt x="1165" y="1117"/>
                      <a:pt x="1150" y="1123"/>
                      <a:pt x="1133" y="1127"/>
                    </a:cubicBezTo>
                    <a:close/>
                    <a:moveTo>
                      <a:pt x="989" y="986"/>
                    </a:moveTo>
                    <a:cubicBezTo>
                      <a:pt x="1091" y="986"/>
                      <a:pt x="1175" y="966"/>
                      <a:pt x="1177" y="941"/>
                    </a:cubicBezTo>
                    <a:cubicBezTo>
                      <a:pt x="1175" y="916"/>
                      <a:pt x="1091" y="896"/>
                      <a:pt x="989" y="896"/>
                    </a:cubicBezTo>
                    <a:cubicBezTo>
                      <a:pt x="886" y="896"/>
                      <a:pt x="803" y="916"/>
                      <a:pt x="800" y="941"/>
                    </a:cubicBezTo>
                    <a:cubicBezTo>
                      <a:pt x="803" y="966"/>
                      <a:pt x="886" y="986"/>
                      <a:pt x="989" y="986"/>
                    </a:cubicBezTo>
                    <a:close/>
                    <a:moveTo>
                      <a:pt x="1410" y="774"/>
                    </a:moveTo>
                    <a:cubicBezTo>
                      <a:pt x="1398" y="780"/>
                      <a:pt x="1383" y="785"/>
                      <a:pt x="1365" y="790"/>
                    </a:cubicBezTo>
                    <a:cubicBezTo>
                      <a:pt x="1326" y="799"/>
                      <a:pt x="1275" y="804"/>
                      <a:pt x="1221" y="804"/>
                    </a:cubicBezTo>
                    <a:cubicBezTo>
                      <a:pt x="1220" y="804"/>
                      <a:pt x="1219" y="804"/>
                      <a:pt x="1219" y="804"/>
                    </a:cubicBezTo>
                    <a:cubicBezTo>
                      <a:pt x="1222" y="806"/>
                      <a:pt x="1226" y="808"/>
                      <a:pt x="1230" y="810"/>
                    </a:cubicBezTo>
                    <a:cubicBezTo>
                      <a:pt x="1256" y="826"/>
                      <a:pt x="1276" y="846"/>
                      <a:pt x="1290" y="869"/>
                    </a:cubicBezTo>
                    <a:cubicBezTo>
                      <a:pt x="1360" y="863"/>
                      <a:pt x="1410" y="846"/>
                      <a:pt x="1410" y="826"/>
                    </a:cubicBezTo>
                    <a:cubicBezTo>
                      <a:pt x="1410" y="826"/>
                      <a:pt x="1410" y="826"/>
                      <a:pt x="1410" y="826"/>
                    </a:cubicBezTo>
                    <a:cubicBezTo>
                      <a:pt x="1410" y="825"/>
                      <a:pt x="1410" y="824"/>
                      <a:pt x="1409" y="824"/>
                    </a:cubicBezTo>
                    <a:cubicBezTo>
                      <a:pt x="1410" y="824"/>
                      <a:pt x="1410" y="824"/>
                      <a:pt x="1410" y="824"/>
                    </a:cubicBezTo>
                    <a:lnTo>
                      <a:pt x="1410" y="774"/>
                    </a:lnTo>
                    <a:close/>
                    <a:moveTo>
                      <a:pt x="1410" y="886"/>
                    </a:moveTo>
                    <a:cubicBezTo>
                      <a:pt x="1398" y="892"/>
                      <a:pt x="1383" y="897"/>
                      <a:pt x="1365" y="902"/>
                    </a:cubicBezTo>
                    <a:cubicBezTo>
                      <a:pt x="1348" y="906"/>
                      <a:pt x="1328" y="909"/>
                      <a:pt x="1306" y="912"/>
                    </a:cubicBezTo>
                    <a:cubicBezTo>
                      <a:pt x="1308" y="922"/>
                      <a:pt x="1309" y="932"/>
                      <a:pt x="1309" y="942"/>
                    </a:cubicBezTo>
                    <a:cubicBezTo>
                      <a:pt x="1309" y="979"/>
                      <a:pt x="1309" y="979"/>
                      <a:pt x="1309" y="979"/>
                    </a:cubicBezTo>
                    <a:cubicBezTo>
                      <a:pt x="1369" y="971"/>
                      <a:pt x="1410" y="956"/>
                      <a:pt x="1410" y="939"/>
                    </a:cubicBezTo>
                    <a:cubicBezTo>
                      <a:pt x="1410" y="939"/>
                      <a:pt x="1410" y="939"/>
                      <a:pt x="1410" y="939"/>
                    </a:cubicBezTo>
                    <a:cubicBezTo>
                      <a:pt x="1410" y="938"/>
                      <a:pt x="1410" y="937"/>
                      <a:pt x="1409" y="936"/>
                    </a:cubicBezTo>
                    <a:cubicBezTo>
                      <a:pt x="1410" y="936"/>
                      <a:pt x="1410" y="936"/>
                      <a:pt x="1410" y="936"/>
                    </a:cubicBezTo>
                    <a:lnTo>
                      <a:pt x="1410" y="886"/>
                    </a:lnTo>
                    <a:close/>
                    <a:moveTo>
                      <a:pt x="1410" y="998"/>
                    </a:moveTo>
                    <a:cubicBezTo>
                      <a:pt x="1398" y="1004"/>
                      <a:pt x="1383" y="1009"/>
                      <a:pt x="1365" y="1014"/>
                    </a:cubicBezTo>
                    <a:cubicBezTo>
                      <a:pt x="1348" y="1018"/>
                      <a:pt x="1330" y="1021"/>
                      <a:pt x="1309" y="1023"/>
                    </a:cubicBezTo>
                    <a:cubicBezTo>
                      <a:pt x="1309" y="1089"/>
                      <a:pt x="1309" y="1089"/>
                      <a:pt x="1309" y="1089"/>
                    </a:cubicBezTo>
                    <a:cubicBezTo>
                      <a:pt x="1368" y="1082"/>
                      <a:pt x="1409" y="1067"/>
                      <a:pt x="1410" y="1050"/>
                    </a:cubicBezTo>
                    <a:cubicBezTo>
                      <a:pt x="1410" y="1049"/>
                      <a:pt x="1410" y="1048"/>
                      <a:pt x="1409" y="1048"/>
                    </a:cubicBezTo>
                    <a:cubicBezTo>
                      <a:pt x="1410" y="1048"/>
                      <a:pt x="1410" y="1048"/>
                      <a:pt x="1410" y="1048"/>
                    </a:cubicBezTo>
                    <a:lnTo>
                      <a:pt x="1410" y="998"/>
                    </a:lnTo>
                    <a:close/>
                  </a:path>
                </a:pathLst>
              </a:custGeom>
              <a:solidFill>
                <a:srgbClr val="98A6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91" name="Group 90"/>
          <p:cNvGrpSpPr>
            <a:grpSpLocks/>
          </p:cNvGrpSpPr>
          <p:nvPr/>
        </p:nvGrpSpPr>
        <p:grpSpPr>
          <a:xfrm>
            <a:off x="795199" y="5597883"/>
            <a:ext cx="541625" cy="448746"/>
            <a:chOff x="6362697" y="6098639"/>
            <a:chExt cx="315632" cy="261507"/>
          </a:xfrm>
        </p:grpSpPr>
        <p:cxnSp>
          <p:nvCxnSpPr>
            <p:cNvPr id="89" name="Straight Connector 88"/>
            <p:cNvCxnSpPr/>
            <p:nvPr/>
          </p:nvCxnSpPr>
          <p:spPr>
            <a:xfrm flipV="1">
              <a:off x="6362697" y="6098639"/>
              <a:ext cx="297982" cy="261507"/>
            </a:xfrm>
            <a:prstGeom prst="line">
              <a:avLst/>
            </a:prstGeom>
            <a:ln w="27243" cap="rnd" cmpd="sng" algn="ctr">
              <a:solidFill>
                <a:srgbClr val="670F3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/>
          </p:nvCxnSpPr>
          <p:spPr>
            <a:xfrm flipH="1" flipV="1">
              <a:off x="6380347" y="6098639"/>
              <a:ext cx="297982" cy="261507"/>
            </a:xfrm>
            <a:prstGeom prst="line">
              <a:avLst/>
            </a:prstGeom>
            <a:ln w="27243" cap="rnd" cmpd="sng" algn="ctr">
              <a:solidFill>
                <a:srgbClr val="670F3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1559195" y="5499091"/>
            <a:ext cx="3706647" cy="6463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400" b="1">
                <a:solidFill>
                  <a:schemeClr val="tx1"/>
                </a:solidFill>
              </a:rPr>
              <a:t>Свободный доступ </a:t>
            </a:r>
            <a:r>
              <a:rPr lang="ru-RU" sz="1400" b="1" dirty="0">
                <a:solidFill>
                  <a:schemeClr val="tx1"/>
                </a:solidFill>
              </a:rPr>
              <a:t>к базовым данным </a:t>
            </a:r>
            <a:r>
              <a:rPr lang="ru-RU" sz="1400" dirty="0">
                <a:solidFill>
                  <a:schemeClr val="tx1"/>
                </a:solidFill>
              </a:rPr>
              <a:t>каталога для широкого круга потребителей</a:t>
            </a: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5900286" y="5237506"/>
            <a:ext cx="5773555" cy="11079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  <a:latin typeface="PT Sans Caption" panose="020B0603020203020204" pitchFamily="34" charset="0"/>
              </a:rPr>
              <a:t>Базовые характеристики товаров для потребителей и участников рын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PT Sans Caption" panose="020B0603020203020204" pitchFamily="34" charset="0"/>
              </a:rPr>
              <a:t>фот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PT Sans Caption" panose="020B0603020203020204" pitchFamily="34" charset="0"/>
              </a:rPr>
              <a:t>характеристики това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PT Sans Caption" panose="020B0603020203020204" pitchFamily="34" charset="0"/>
              </a:rPr>
              <a:t>упаков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PT Sans Caption" panose="020B0603020203020204" pitchFamily="34" charset="0"/>
              </a:rPr>
              <a:t>информация о выданных разрешительных документа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PT Sans Caption" panose="020B0603020203020204" pitchFamily="34" charset="0"/>
              </a:rPr>
              <a:t>проч.</a:t>
            </a:r>
          </a:p>
        </p:txBody>
      </p:sp>
      <p:cxnSp>
        <p:nvCxnSpPr>
          <p:cNvPr id="116" name="Straight Connector 115"/>
          <p:cNvCxnSpPr/>
          <p:nvPr/>
        </p:nvCxnSpPr>
        <p:spPr>
          <a:xfrm>
            <a:off x="5466551" y="5277458"/>
            <a:ext cx="0" cy="1071164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69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EE4P_LANGUAGE_ID" val="1033"/>
  <p:tag name="EE4P_STYLE_NAME" val="CRPT_yellow_grey Grid 16:9"/>
  <p:tag name="EE4P_MASTERWIZARD_DRAFT" val="0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PT Sans Caption&quot; bold=&quot;0&quot; italic=&quot;0&quot; color=&quot;#595959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#595959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595959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PT Sans Caption&quot; size=&quot;54&quot; bold=&quot;0&quot; italic=&quot;0&quot; underlineStyle=&quot;0&quot; color=&quot;#595959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PT Sans Caption&quot; size=&quot;10&quot; bold=&quot;0&quot; italic=&quot;0&quot; underlineStyle=&quot;0&quot; color=&quot;#595959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595959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595959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PT Sans Caption&quot; size=&quot;54&quot; bold=&quot;0&quot; italic=&quot;0&quot; underlineStyle=&quot;0&quot; color=&quot;#595959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STYLE_ID" val="aeyVORYL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2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>
          <a:defRPr sz="1400"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7</TotalTime>
  <Words>500</Words>
  <Application>Microsoft Office PowerPoint</Application>
  <PresentationFormat>Широкоэкранный</PresentationFormat>
  <Paragraphs>111</Paragraphs>
  <Slides>6</Slides>
  <Notes>4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  <vt:variant>
        <vt:lpstr>Произвольные показы</vt:lpstr>
      </vt:variant>
      <vt:variant>
        <vt:i4>1</vt:i4>
      </vt:variant>
    </vt:vector>
  </HeadingPairs>
  <TitlesOfParts>
    <vt:vector size="13" baseType="lpstr">
      <vt:lpstr>Arial</vt:lpstr>
      <vt:lpstr>PT Sans Caption</vt:lpstr>
      <vt:lpstr>Trebuchet MS</vt:lpstr>
      <vt:lpstr>4_BCG Grid 16:9</vt:lpstr>
      <vt:lpstr>2_BCG Grid 16:9</vt:lpstr>
      <vt:lpstr>think-cell Slide</vt:lpstr>
      <vt:lpstr>Презентация PowerPoint</vt:lpstr>
      <vt:lpstr>Перечень товарных групп, подлежащих обязательной маркировке в РФ</vt:lpstr>
      <vt:lpstr>Общая схема работы системы маркировки и прослеживаемости</vt:lpstr>
      <vt:lpstr>Система маркировки может быть интегрирована с ГИС Меркурий в части готовой упакованной продукции животного происхождения</vt:lpstr>
      <vt:lpstr>Национальный каталог станет цифровой экосистемой, объединяющей всех участников</vt:lpstr>
      <vt:lpstr>Национальный каталог станет решением нового уровня для всех участников рынка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Evgeny Gladyshev</cp:lastModifiedBy>
  <cp:revision>507</cp:revision>
  <cp:lastPrinted>2018-07-23T06:58:55Z</cp:lastPrinted>
  <dcterms:created xsi:type="dcterms:W3CDTF">2018-07-09T14:22:57Z</dcterms:created>
  <dcterms:modified xsi:type="dcterms:W3CDTF">2018-07-23T07:0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954917</vt:lpwstr>
  </property>
  <property fmtid="{D5CDD505-2E9C-101B-9397-08002B2CF9AE}" pid="4" name="NXPowerLiteSettings">
    <vt:lpwstr>89000400038000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